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media/image31.bin" ContentType="image/gif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780" r:id="rId2"/>
    <p:sldMasterId id="2147483814" r:id="rId3"/>
    <p:sldMasterId id="2147483837" r:id="rId4"/>
    <p:sldMasterId id="2147483866" r:id="rId5"/>
  </p:sldMasterIdLst>
  <p:notesMasterIdLst>
    <p:notesMasterId r:id="rId14"/>
  </p:notesMasterIdLst>
  <p:handoutMasterIdLst>
    <p:handoutMasterId r:id="rId15"/>
  </p:handoutMasterIdLst>
  <p:sldIdLst>
    <p:sldId id="298" r:id="rId6"/>
    <p:sldId id="299" r:id="rId7"/>
    <p:sldId id="275" r:id="rId8"/>
    <p:sldId id="278" r:id="rId9"/>
    <p:sldId id="279" r:id="rId10"/>
    <p:sldId id="300" r:id="rId11"/>
    <p:sldId id="296" r:id="rId12"/>
    <p:sldId id="289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6" autoAdjust="0"/>
    <p:restoredTop sz="77442" autoAdjust="0"/>
  </p:normalViewPr>
  <p:slideViewPr>
    <p:cSldViewPr snapToGrid="0" showGuides="1">
      <p:cViewPr varScale="1">
        <p:scale>
          <a:sx n="89" d="100"/>
          <a:sy n="89" d="100"/>
        </p:scale>
        <p:origin x="1374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204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9A-49CA-BAEB-D48F3CA5A69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9A-49CA-BAEB-D48F3CA5A69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B9A-49CA-BAEB-D48F3CA5A69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B9A-49CA-BAEB-D48F3CA5A69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B9A-49CA-BAEB-D48F3CA5A692}"/>
              </c:ext>
            </c:extLst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2A-4524-B64F-19EEFDBC47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9/09/2020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9/09/2020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6578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8152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9868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000" indent="-180000"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5ED24-2F01-41C2-9D0C-94231A7008F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414041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61237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414041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9354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7552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hangingPunct="0">
              <a:spcAft>
                <a:spcPts val="9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3533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6.png"/><Relationship Id="rId4" Type="http://schemas.openxmlformats.org/officeDocument/2006/relationships/image" Target="../media/image19.png"/><Relationship Id="rId9" Type="http://schemas.openxmlformats.org/officeDocument/2006/relationships/image" Target="../media/image5.pn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6.png"/><Relationship Id="rId4" Type="http://schemas.openxmlformats.org/officeDocument/2006/relationships/image" Target="../media/image19.png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.bin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5.emf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>
            <a:extLst>
              <a:ext uri="{FF2B5EF4-FFF2-40B4-BE49-F238E27FC236}">
                <a16:creationId xmlns:a16="http://schemas.microsoft.com/office/drawing/2014/main" id="{B8877287-5F9B-4BAE-9D1D-2ACF195163FA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DBB8F26-51CE-4DA4-8A81-26F70ABBCB6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1430000" cy="6861600"/>
          </a:xfrm>
          <a:noFill/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A2C0E719-2FE9-4DDC-85FB-462607FE96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2"/>
            <a:ext cx="10398125" cy="792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Place and date e.g. 05.09.2019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Rektangel green">
            <a:extLst>
              <a:ext uri="{FF2B5EF4-FFF2-40B4-BE49-F238E27FC236}">
                <a16:creationId xmlns:a16="http://schemas.microsoft.com/office/drawing/2014/main" id="{07105EC6-BDF8-4CA6-BC1A-66BC8CAB16E2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ktangel dark green">
            <a:extLst>
              <a:ext uri="{FF2B5EF4-FFF2-40B4-BE49-F238E27FC236}">
                <a16:creationId xmlns:a16="http://schemas.microsoft.com/office/drawing/2014/main" id="{04C8762C-3DA5-4AC5-843F-62621B9E9F0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22776A68-AEEF-4730-A802-FE6B58A49F93}"/>
              </a:ext>
            </a:extLst>
          </p:cNvPr>
          <p:cNvSpPr/>
          <p:nvPr userDrawn="1"/>
        </p:nvSpPr>
        <p:spPr>
          <a:xfrm>
            <a:off x="5938838" y="0"/>
            <a:ext cx="6253161" cy="6861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ktangel green">
            <a:extLst>
              <a:ext uri="{FF2B5EF4-FFF2-40B4-BE49-F238E27FC236}">
                <a16:creationId xmlns:a16="http://schemas.microsoft.com/office/drawing/2014/main" id="{0E19DF27-B461-41A5-91BF-C6038E067361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ktangel dark green">
            <a:extLst>
              <a:ext uri="{FF2B5EF4-FFF2-40B4-BE49-F238E27FC236}">
                <a16:creationId xmlns:a16="http://schemas.microsoft.com/office/drawing/2014/main" id="{E577D14C-0173-46F0-8E2E-64BEC7970AA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775" y="365761"/>
            <a:ext cx="5057775" cy="5812126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887"/>
            <a:ext cx="5058000" cy="4284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99448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1ED8572-9934-4253-804A-5F1AC7D919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37426A-A713-405C-A0B5-E037DAF88A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E8797DF-A45B-4D7C-BB4E-B89E4EA54FF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39DDE60F-72DA-4C4D-8B02-B057229D948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92939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>
            <a:extLst>
              <a:ext uri="{FF2B5EF4-FFF2-40B4-BE49-F238E27FC236}">
                <a16:creationId xmlns:a16="http://schemas.microsoft.com/office/drawing/2014/main" id="{03A091A9-CC1B-48F7-BC9E-2F43F9854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dsholder til sidefod 5" hidden="1">
            <a:extLst>
              <a:ext uri="{FF2B5EF4-FFF2-40B4-BE49-F238E27FC236}">
                <a16:creationId xmlns:a16="http://schemas.microsoft.com/office/drawing/2014/main" id="{8168D80C-0805-4D30-8E04-DE7D3C3D7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Pladsholder til billede 18">
            <a:extLst>
              <a:ext uri="{FF2B5EF4-FFF2-40B4-BE49-F238E27FC236}">
                <a16:creationId xmlns:a16="http://schemas.microsoft.com/office/drawing/2014/main" id="{BA3F11E9-E0CA-4053-965A-48B837725C0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333786" y="0"/>
            <a:ext cx="2858215" cy="6858000"/>
          </a:xfrm>
          <a:custGeom>
            <a:avLst/>
            <a:gdLst>
              <a:gd name="connsiteX0" fmla="*/ 939648 w 2858215"/>
              <a:gd name="connsiteY0" fmla="*/ 0 h 6858000"/>
              <a:gd name="connsiteX1" fmla="*/ 2858215 w 2858215"/>
              <a:gd name="connsiteY1" fmla="*/ 0 h 6858000"/>
              <a:gd name="connsiteX2" fmla="*/ 2858215 w 2858215"/>
              <a:gd name="connsiteY2" fmla="*/ 6858000 h 6858000"/>
              <a:gd name="connsiteX3" fmla="*/ 0 w 28582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939648" y="0"/>
                </a:moveTo>
                <a:lnTo>
                  <a:pt x="2858215" y="0"/>
                </a:lnTo>
                <a:lnTo>
                  <a:pt x="28582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972000" tIns="72000" rIns="144000" bIns="0" anchor="t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/>
            </a:pPr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 runner image. The image will adjust automatically to the placeholder.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E454EF-3B17-4BA9-B134-543E0AFFF87D}"/>
              </a:ext>
            </a:extLst>
          </p:cNvPr>
          <p:cNvSpPr txBox="1"/>
          <p:nvPr userDrawn="1"/>
        </p:nvSpPr>
        <p:spPr>
          <a:xfrm>
            <a:off x="720000" y="540000"/>
            <a:ext cx="5205876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4800" dirty="0" smtClean="0"/>
              <a:t>Agend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5163230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Pladsholder til dato 2" hidden="1">
            <a:extLst>
              <a:ext uri="{FF2B5EF4-FFF2-40B4-BE49-F238E27FC236}">
                <a16:creationId xmlns:a16="http://schemas.microsoft.com/office/drawing/2014/main" id="{6EF26397-E878-4260-B9BE-32543C01BA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Pladsholder til sidefod 8" hidden="1">
            <a:extLst>
              <a:ext uri="{FF2B5EF4-FFF2-40B4-BE49-F238E27FC236}">
                <a16:creationId xmlns:a16="http://schemas.microsoft.com/office/drawing/2014/main" id="{16147CBE-770F-48DA-BDED-C9F45EB9D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Pladsholder til slidenummer 8" hidden="1">
            <a:extLst>
              <a:ext uri="{FF2B5EF4-FFF2-40B4-BE49-F238E27FC236}">
                <a16:creationId xmlns:a16="http://schemas.microsoft.com/office/drawing/2014/main" id="{2E45038D-BAB9-4DB5-AFF3-26D356F012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30B3C842-99D2-497F-BAD5-26F146B7E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079" y="6004474"/>
            <a:ext cx="1715842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8195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Pladsholder til dato 2" hidden="1">
            <a:extLst>
              <a:ext uri="{FF2B5EF4-FFF2-40B4-BE49-F238E27FC236}">
                <a16:creationId xmlns:a16="http://schemas.microsoft.com/office/drawing/2014/main" id="{F533124A-8889-4B6D-94A9-6460BCA8CB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Pladsholder til sidefod 8" hidden="1">
            <a:extLst>
              <a:ext uri="{FF2B5EF4-FFF2-40B4-BE49-F238E27FC236}">
                <a16:creationId xmlns:a16="http://schemas.microsoft.com/office/drawing/2014/main" id="{76AC0C8C-0159-49B9-90D9-C62BE8FDC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ladsholder til slidenummer 8" hidden="1">
            <a:extLst>
              <a:ext uri="{FF2B5EF4-FFF2-40B4-BE49-F238E27FC236}">
                <a16:creationId xmlns:a16="http://schemas.microsoft.com/office/drawing/2014/main" id="{C1C328CB-4870-4BC3-8845-D2DB883293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1566A5-690F-4566-A27C-D0A90DCAE9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079" y="6004474"/>
            <a:ext cx="1715842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07848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782828" y="1806575"/>
            <a:ext cx="2340000" cy="4129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right Templafy pane</a:t>
            </a:r>
            <a:endParaRPr lang="en-GB" altLang="da-DK" sz="90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  <a:endParaRPr lang="en-GB" altLang="da-DK" sz="90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</a:t>
            </a:r>
            <a: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copied picture</a:t>
            </a:r>
            <a:endParaRPr lang="en-GB" altLang="da-DK" sz="900" noProof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ing of guides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719138" y="720000"/>
            <a:ext cx="1092993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728015" y="1806575"/>
            <a:ext cx="2412000" cy="435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</a:t>
            </a:r>
            <a:r>
              <a:rPr lang="en-GB" sz="9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a New Slide</a:t>
            </a:r>
            <a:endParaRPr lang="en-GB" sz="900" b="1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</a:t>
            </a:r>
            <a: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</a:t>
            </a:r>
            <a:b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lide layouts</a:t>
            </a:r>
            <a:endParaRPr lang="en-GB" sz="900" noProof="0" dirty="0" smtClean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ll be applied to the new slide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GB" altLang="da-DK" sz="90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956800" y="1806575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 sz="900" b="1" noProof="1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6164" y="2675687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9558" y="3480236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75548" y="4430777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46164" y="5789605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7041205" y="2950946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7085943" y="3925367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7085355" y="1847179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93191" y="2960915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293191" y="3877831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9988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nd picture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tekst 22">
            <a:extLst>
              <a:ext uri="{FF2B5EF4-FFF2-40B4-BE49-F238E27FC236}">
                <a16:creationId xmlns:a16="http://schemas.microsoft.com/office/drawing/2014/main" id="{EC5B7C24-355F-4564-A14D-C4AD0B0C17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33785" y="0"/>
            <a:ext cx="2858215" cy="6857999"/>
          </a:xfrm>
          <a:custGeom>
            <a:avLst/>
            <a:gdLst>
              <a:gd name="connsiteX0" fmla="*/ 939648 w 2858215"/>
              <a:gd name="connsiteY0" fmla="*/ 0 h 6857999"/>
              <a:gd name="connsiteX1" fmla="*/ 2858215 w 2858215"/>
              <a:gd name="connsiteY1" fmla="*/ 0 h 6857999"/>
              <a:gd name="connsiteX2" fmla="*/ 2858215 w 2858215"/>
              <a:gd name="connsiteY2" fmla="*/ 6857999 h 6857999"/>
              <a:gd name="connsiteX3" fmla="*/ 0 w 2858215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7999">
                <a:moveTo>
                  <a:pt x="939648" y="0"/>
                </a:moveTo>
                <a:lnTo>
                  <a:pt x="2858215" y="0"/>
                </a:lnTo>
                <a:lnTo>
                  <a:pt x="2858215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accent1">
              <a:lumMod val="50000"/>
              <a:alpha val="49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9" name="Pladsholder til billede 18">
            <a:extLst>
              <a:ext uri="{FF2B5EF4-FFF2-40B4-BE49-F238E27FC236}">
                <a16:creationId xmlns:a16="http://schemas.microsoft.com/office/drawing/2014/main" id="{BEA719FD-82D1-4B7F-A1BF-7436A38B98A5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333786" y="0"/>
            <a:ext cx="2858215" cy="6858000"/>
          </a:xfrm>
          <a:custGeom>
            <a:avLst/>
            <a:gdLst>
              <a:gd name="connsiteX0" fmla="*/ 939648 w 2858215"/>
              <a:gd name="connsiteY0" fmla="*/ 0 h 6858000"/>
              <a:gd name="connsiteX1" fmla="*/ 2858215 w 2858215"/>
              <a:gd name="connsiteY1" fmla="*/ 0 h 6858000"/>
              <a:gd name="connsiteX2" fmla="*/ 2858215 w 2858215"/>
              <a:gd name="connsiteY2" fmla="*/ 6858000 h 6858000"/>
              <a:gd name="connsiteX3" fmla="*/ 0 w 28582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939648" y="0"/>
                </a:moveTo>
                <a:lnTo>
                  <a:pt x="2858215" y="0"/>
                </a:lnTo>
                <a:lnTo>
                  <a:pt x="28582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648000" tIns="0" rIns="144000" bIns="1296000" anchor="ctr" anchorCtr="0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/>
            </a:pPr>
            <a:r>
              <a:rPr lang="en-GB" dirty="0"/>
              <a:t>Click the placeholder and paste image via Images Library, right click on the image and select Send to Back to get the blue transponder in fron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358775"/>
            <a:ext cx="8413433" cy="1081088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20000" y="1776413"/>
            <a:ext cx="8413433" cy="4312800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13" name="Pladsholder til sidefod 2" hidden="1">
            <a:extLst>
              <a:ext uri="{FF2B5EF4-FFF2-40B4-BE49-F238E27FC236}">
                <a16:creationId xmlns:a16="http://schemas.microsoft.com/office/drawing/2014/main" id="{74B94568-1630-452E-A38E-BAEC77087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ladsholder til dato 4" hidden="1">
            <a:extLst>
              <a:ext uri="{FF2B5EF4-FFF2-40B4-BE49-F238E27FC236}">
                <a16:creationId xmlns:a16="http://schemas.microsoft.com/office/drawing/2014/main" id="{07BAC2B1-1D68-44C6-AC32-F202020328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7" name="Pladsholder til slidenummer 8" hidden="1">
            <a:extLst>
              <a:ext uri="{FF2B5EF4-FFF2-40B4-BE49-F238E27FC236}">
                <a16:creationId xmlns:a16="http://schemas.microsoft.com/office/drawing/2014/main" id="{12540DDC-8E0D-4F2D-AADA-CAADACB40D8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29378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>
            <a:extLst>
              <a:ext uri="{FF2B5EF4-FFF2-40B4-BE49-F238E27FC236}">
                <a16:creationId xmlns:a16="http://schemas.microsoft.com/office/drawing/2014/main" id="{B8877287-5F9B-4BAE-9D1D-2ACF195163FA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DBB8F26-51CE-4DA4-8A81-26F70ABBCB6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1430000" cy="6861600"/>
          </a:xfrm>
          <a:noFill/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A2C0E719-2FE9-4DDC-85FB-462607FE96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2"/>
            <a:ext cx="10398125" cy="792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Place and date e.g. 05.09.2019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Rektangel green">
            <a:extLst>
              <a:ext uri="{FF2B5EF4-FFF2-40B4-BE49-F238E27FC236}">
                <a16:creationId xmlns:a16="http://schemas.microsoft.com/office/drawing/2014/main" id="{07105EC6-BDF8-4CA6-BC1A-66BC8CAB16E2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ktangel dark green">
            <a:extLst>
              <a:ext uri="{FF2B5EF4-FFF2-40B4-BE49-F238E27FC236}">
                <a16:creationId xmlns:a16="http://schemas.microsoft.com/office/drawing/2014/main" id="{04C8762C-3DA5-4AC5-843F-62621B9E9F0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341250004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white">
            <a:extLst>
              <a:ext uri="{FF2B5EF4-FFF2-40B4-BE49-F238E27FC236}">
                <a16:creationId xmlns:a16="http://schemas.microsoft.com/office/drawing/2014/main" id="{B2C6478D-A4B2-4C40-8C24-93A50435F7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85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EEA8104-DA24-4CF5-BC37-AB4E5295CD2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blipFill>
            <a:blip r:embed="rId2"/>
            <a:stretch>
              <a:fillRect/>
            </a:stretch>
          </a:blip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3"/>
            <a:ext cx="10398125" cy="79136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lace and date e.g. 05.06.2019</a:t>
            </a:r>
          </a:p>
        </p:txBody>
      </p:sp>
      <p:sp>
        <p:nvSpPr>
          <p:cNvPr id="5" name="Text Placeholder logo">
            <a:extLst>
              <a:ext uri="{FF2B5EF4-FFF2-40B4-BE49-F238E27FC236}">
                <a16:creationId xmlns:a16="http://schemas.microsoft.com/office/drawing/2014/main" id="{482372E2-DC37-41F0-9153-66B7272D28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818004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00A0C9-C66C-4C37-85AB-4AB7079E9F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34711" y="1310615"/>
            <a:ext cx="761289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dirty="0" smtClean="0"/>
              <a:t>01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A113463-01E8-441B-8116-EDD41B0D6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20678" y="1310615"/>
            <a:ext cx="4910872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952964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080868-ECCE-4A50-9CC9-55F5F3AD63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AFCBD021-CE79-4851-AA00-7763AC7DFC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4BB8F8D5-DB63-404E-B446-F1DEA8289F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CCB5E4-EEF8-4244-BB4F-2EC5A5734E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3820" y="1959835"/>
            <a:ext cx="6392498" cy="1177200"/>
          </a:xfrm>
        </p:spPr>
        <p:txBody>
          <a:bodyPr anchor="t" anchorCtr="0"/>
          <a:lstStyle>
            <a:lvl1pPr algn="l">
              <a:lnSpc>
                <a:spcPct val="99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9504989-647B-4BA0-A416-40731C2CE4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8890" y="1653357"/>
            <a:ext cx="1501626" cy="1176191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7200">
                <a:solidFill>
                  <a:schemeClr val="accent3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138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9264201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08">
          <p15:clr>
            <a:srgbClr val="FBAE40"/>
          </p15:clr>
        </p15:guide>
        <p15:guide id="2" pos="141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69204-9278-4D12-9F2B-DE23656C63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13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43C506C-5441-4EB9-A448-7B85EFF71D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3812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12804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2" y="1893600"/>
            <a:ext cx="10396800" cy="428537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5793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110D0C-3705-4B45-AC95-17F0ACD5A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8991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3775" y="0"/>
            <a:ext cx="5356938" cy="6858000"/>
          </a:xfrm>
        </p:spPr>
        <p:txBody>
          <a:bodyPr lIns="180000" tIns="1224000" rIns="18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96005E4-93AC-45EE-B7FC-203D6AB2A63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A72B91-BF31-47AE-8746-797EF09936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077BA4-F24B-48FF-8803-E2D0662A22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9974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4F39CDB-6E52-4F93-ABE7-3C7400B8F223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6073288" y="365760"/>
            <a:ext cx="5058000" cy="1303973"/>
          </a:xfrm>
        </p:spPr>
        <p:txBody>
          <a:bodyPr anchor="ctr" anchorCtr="0"/>
          <a:lstStyle>
            <a:lvl1pPr marL="0" indent="0" algn="l">
              <a:lnSpc>
                <a:spcPct val="98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en-US" sz="3600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0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55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4787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550" y="365760"/>
            <a:ext cx="5058000" cy="5812789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598"/>
            <a:ext cx="5058000" cy="4284952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67279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22776A68-AEEF-4730-A802-FE6B58A49F93}"/>
              </a:ext>
            </a:extLst>
          </p:cNvPr>
          <p:cNvSpPr/>
          <p:nvPr userDrawn="1"/>
        </p:nvSpPr>
        <p:spPr>
          <a:xfrm>
            <a:off x="5938838" y="0"/>
            <a:ext cx="6253161" cy="6861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ktangel green">
            <a:extLst>
              <a:ext uri="{FF2B5EF4-FFF2-40B4-BE49-F238E27FC236}">
                <a16:creationId xmlns:a16="http://schemas.microsoft.com/office/drawing/2014/main" id="{0E19DF27-B461-41A5-91BF-C6038E067361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ktangel dark green">
            <a:extLst>
              <a:ext uri="{FF2B5EF4-FFF2-40B4-BE49-F238E27FC236}">
                <a16:creationId xmlns:a16="http://schemas.microsoft.com/office/drawing/2014/main" id="{E577D14C-0173-46F0-8E2E-64BEC7970AA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775" y="365761"/>
            <a:ext cx="5057775" cy="5812126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887"/>
            <a:ext cx="5058000" cy="4284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79832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69204-9278-4D12-9F2B-DE23656C63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13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43C506C-5441-4EB9-A448-7B85EFF71D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3812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89147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6196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97382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17884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973">
          <p15:clr>
            <a:srgbClr val="FBAE40"/>
          </p15:clr>
        </p15:guide>
        <p15:guide id="2" pos="4761">
          <p15:clr>
            <a:srgbClr val="FBAE40"/>
          </p15:clr>
        </p15:guide>
        <p15:guide id="3" pos="2715">
          <p15:clr>
            <a:srgbClr val="FBAE40"/>
          </p15:clr>
        </p15:guide>
        <p15:guide id="4" pos="250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3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10469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5925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4F662463-307C-45A0-8B6E-0873A9A71C9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761382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577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17">
          <p15:clr>
            <a:srgbClr val="FBAE40"/>
          </p15:clr>
        </p15:guide>
        <p15:guide id="2" pos="5330">
          <p15:clr>
            <a:srgbClr val="FBAE40"/>
          </p15:clr>
        </p15:guide>
        <p15:guide id="3" pos="3827">
          <p15:clr>
            <a:srgbClr val="FBAE40"/>
          </p15:clr>
        </p15:guide>
        <p15:guide id="4" pos="3646">
          <p15:clr>
            <a:srgbClr val="FBAE40"/>
          </p15:clr>
        </p15:guide>
        <p15:guide id="5" pos="2146">
          <p15:clr>
            <a:srgbClr val="FBAE40"/>
          </p15:clr>
        </p15:guide>
        <p15:guide id="6" pos="196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913F5AC5-D709-45BD-A706-8F3A48A0278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870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B6491E3A-E297-48E9-9CBF-6A1149EDCF7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339394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A97DC24F-E132-4E99-B1E5-18B8C16CB11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944653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D5DD641E-601A-4024-8F9C-E2480B50E74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565542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4185225D-B7B6-4135-A528-D9E082387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870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1BDA27CD-3501-42B7-A4C4-751C44049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870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914B21AE-7E0D-4531-80F9-97CE84DC3A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7870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FFB1F37B-0C31-43FA-8FD0-97AB95D778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7870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8DFD173E-9E1F-4263-BEE4-44B7A3CC87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39394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DCDDFB0D-C2ED-4FB5-A0D7-6BA57409AA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339394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A148D81A-CB2B-4D16-A0C4-5FF28AA29F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39394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49788E7A-94E1-41F0-8307-E9A58C0BE7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339394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D9E49EC0-5588-4238-ACE2-C932D36AFA2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44653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BF0E74F2-FA85-4EC4-ADBF-B7E3A3CA0F2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944653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BC92028E-2970-4107-B9CC-04D67FFD40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44653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5A245984-8F5E-41C9-8CF6-8BB28DFA262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44653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03FC57F0-D9E4-4FFC-AFDA-EC75A9685FF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5542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66C8C1AB-0441-42D4-8F79-0BDF47646AC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5542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27D66AA1-E34D-40AF-9252-530771F6F31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65542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535F3CEE-F8DF-4F64-ACB7-BDB17C39F1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565542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2B9F30-5054-4E45-B112-AD0258A9EDD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3501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EB3757E2-9A36-4529-A195-D4340A58545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339394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450EE70E-10AC-4FA1-AAB7-277427ADC2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944653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C20FFCE0-6186-4992-939E-E879CA7F088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56554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73611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6196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97382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0313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973" userDrawn="1">
          <p15:clr>
            <a:srgbClr val="FBAE40"/>
          </p15:clr>
        </p15:guide>
        <p15:guide id="2" pos="4761" userDrawn="1">
          <p15:clr>
            <a:srgbClr val="FBAE40"/>
          </p15:clr>
        </p15:guide>
        <p15:guide id="3" pos="2715" userDrawn="1">
          <p15:clr>
            <a:srgbClr val="FBAE40"/>
          </p15:clr>
        </p15:guide>
        <p15:guide id="4" pos="2506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mult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E29149-3902-42F1-870A-276BC7A13A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35311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D241C3B9-5AD6-4B93-952D-49B1B4140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35311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22" name="Pladsholder til tekst 10">
            <a:extLst>
              <a:ext uri="{FF2B5EF4-FFF2-40B4-BE49-F238E27FC236}">
                <a16:creationId xmlns:a16="http://schemas.microsoft.com/office/drawing/2014/main" id="{26DCF766-5098-4888-8430-85073B834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35311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1840713-CECD-4D22-96B4-8945D9F4CF8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14827" y="1884047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B16EF6E-FBD9-45EA-BD6D-447CCEBCC9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7164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4F478B86-DB2D-4B3E-8DA6-30620912896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68072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EB4C39E-F4BE-4564-BD85-11455D43630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135311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B0E0438-747E-473A-B972-A3494852F34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614827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2F0C5F6-E777-4BA6-92BF-D1ED3ABFCE8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097164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7CEF7E1-CB7D-4757-92C3-CDBE3E6113B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568072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4" name="Pladsholder til tekst 10">
            <a:extLst>
              <a:ext uri="{FF2B5EF4-FFF2-40B4-BE49-F238E27FC236}">
                <a16:creationId xmlns:a16="http://schemas.microsoft.com/office/drawing/2014/main" id="{B126FC31-18C4-486F-AB95-0CA86E492A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35311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366971B2-2756-4926-AA5E-B19410F6F6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35311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E81A9805-1F78-4DEF-8C63-6DBF755FEC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14827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4BC20E61-C766-4BC0-97A9-93C695B52E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14827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E9780EB6-79A7-4A9D-9F28-2BA1D0A3BE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614827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6965CD96-B91C-46D7-B352-002ABE85FE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14827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0" name="Pladsholder til tekst 10">
            <a:extLst>
              <a:ext uri="{FF2B5EF4-FFF2-40B4-BE49-F238E27FC236}">
                <a16:creationId xmlns:a16="http://schemas.microsoft.com/office/drawing/2014/main" id="{500B62DC-F9ED-46DF-BBE3-6BA3CF1EBBB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7164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1" name="Pladsholder til tekst 10">
            <a:extLst>
              <a:ext uri="{FF2B5EF4-FFF2-40B4-BE49-F238E27FC236}">
                <a16:creationId xmlns:a16="http://schemas.microsoft.com/office/drawing/2014/main" id="{89D77EE9-0C6B-4F22-A688-B251EC36786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97164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2" name="Pladsholder til tekst 10">
            <a:extLst>
              <a:ext uri="{FF2B5EF4-FFF2-40B4-BE49-F238E27FC236}">
                <a16:creationId xmlns:a16="http://schemas.microsoft.com/office/drawing/2014/main" id="{55301594-B401-42C2-9A15-CBA9FB4F2A0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97164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3" name="Pladsholder til tekst 10">
            <a:extLst>
              <a:ext uri="{FF2B5EF4-FFF2-40B4-BE49-F238E27FC236}">
                <a16:creationId xmlns:a16="http://schemas.microsoft.com/office/drawing/2014/main" id="{626A94EC-17E2-4065-A166-109981F3287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097164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F34F30B1-6F93-4411-A3CC-3CEB463B072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568072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8E8DE5A3-496F-4E14-B1E7-7C3911A65D3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8072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00D2D09E-9CD9-4BCF-8592-793EFB3E96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8072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B1E25204-4903-4E2B-9FFF-4983E12A348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8072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C695425D-CF15-4573-B3AC-D577E591EC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135311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E51A13BA-E109-47E4-BB29-0A5BB3A97C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35311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75715D88-109E-49A3-A3B8-C3620824C77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35311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2A0B1168-EBA2-418C-9602-3CE505C8882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35311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B4B4E88D-9545-4B48-91B3-730F8BDB63A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14827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7BF4D617-CE98-4D1E-A0CB-FF0352CB2DD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14827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39E1D4F9-A925-4BD6-B741-2A2F24FEE8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614827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5" name="Pladsholder til tekst 10">
            <a:extLst>
              <a:ext uri="{FF2B5EF4-FFF2-40B4-BE49-F238E27FC236}">
                <a16:creationId xmlns:a16="http://schemas.microsoft.com/office/drawing/2014/main" id="{80DDB5B9-EFEA-4EF6-9352-100F8FA83E6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14827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6" name="Pladsholder til tekst 10">
            <a:extLst>
              <a:ext uri="{FF2B5EF4-FFF2-40B4-BE49-F238E27FC236}">
                <a16:creationId xmlns:a16="http://schemas.microsoft.com/office/drawing/2014/main" id="{985E4140-F8AC-473E-B6F0-538FFDC7C87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097164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7" name="Pladsholder til tekst 10">
            <a:extLst>
              <a:ext uri="{FF2B5EF4-FFF2-40B4-BE49-F238E27FC236}">
                <a16:creationId xmlns:a16="http://schemas.microsoft.com/office/drawing/2014/main" id="{1DD2A5B6-0886-4D15-9143-9B5DE1B7410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097164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8" name="Pladsholder til tekst 10">
            <a:extLst>
              <a:ext uri="{FF2B5EF4-FFF2-40B4-BE49-F238E27FC236}">
                <a16:creationId xmlns:a16="http://schemas.microsoft.com/office/drawing/2014/main" id="{3DD614D7-30B2-42B0-B11F-3CF5D24CC2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097164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9" name="Pladsholder til tekst 10">
            <a:extLst>
              <a:ext uri="{FF2B5EF4-FFF2-40B4-BE49-F238E27FC236}">
                <a16:creationId xmlns:a16="http://schemas.microsoft.com/office/drawing/2014/main" id="{35B9E924-85AA-4A62-9BF6-B6781295F34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097164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70" name="Pladsholder til tekst 10">
            <a:extLst>
              <a:ext uri="{FF2B5EF4-FFF2-40B4-BE49-F238E27FC236}">
                <a16:creationId xmlns:a16="http://schemas.microsoft.com/office/drawing/2014/main" id="{B4F1EF7C-5F9D-44D2-A011-53CF8B895CD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568072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71" name="Pladsholder til tekst 10">
            <a:extLst>
              <a:ext uri="{FF2B5EF4-FFF2-40B4-BE49-F238E27FC236}">
                <a16:creationId xmlns:a16="http://schemas.microsoft.com/office/drawing/2014/main" id="{B56695BB-073D-418B-BB49-2EA31C26DE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568072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72" name="Pladsholder til tekst 10">
            <a:extLst>
              <a:ext uri="{FF2B5EF4-FFF2-40B4-BE49-F238E27FC236}">
                <a16:creationId xmlns:a16="http://schemas.microsoft.com/office/drawing/2014/main" id="{8DCCBF9A-8A72-41C0-89D7-5D90AD59A7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568072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73" name="Pladsholder til tekst 10">
            <a:extLst>
              <a:ext uri="{FF2B5EF4-FFF2-40B4-BE49-F238E27FC236}">
                <a16:creationId xmlns:a16="http://schemas.microsoft.com/office/drawing/2014/main" id="{02697809-560F-417A-9B7E-FBDE1E8AF5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568072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</p:spTree>
    <p:extLst>
      <p:ext uri="{BB962C8B-B14F-4D97-AF65-F5344CB8AC3E}">
        <p14:creationId xmlns:p14="http://schemas.microsoft.com/office/powerpoint/2010/main" val="361546395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24B17F4-758C-4396-B266-27C151BBFD37}"/>
              </a:ext>
            </a:extLst>
          </p:cNvPr>
          <p:cNvSpPr/>
          <p:nvPr userDrawn="1"/>
        </p:nvSpPr>
        <p:spPr>
          <a:xfrm>
            <a:off x="-1" y="0"/>
            <a:ext cx="52413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DFEC46-4C10-42A4-AC67-3583EE1A7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50D7653E-5742-41AD-8CA9-F47F3365F1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E2C1FAB2-A422-4F22-BEF7-FB9CF912CC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8845AA35-7716-4D15-8D84-83280DB9C1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F5DD6DB-8616-49DB-BE16-35B925BBEE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5012" y="1900500"/>
            <a:ext cx="1144800" cy="11448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.</a:t>
            </a:r>
          </a:p>
        </p:txBody>
      </p:sp>
      <p:sp>
        <p:nvSpPr>
          <p:cNvPr id="7" name="Pladsholder til tekst 10">
            <a:extLst>
              <a:ext uri="{FF2B5EF4-FFF2-40B4-BE49-F238E27FC236}">
                <a16:creationId xmlns:a16="http://schemas.microsoft.com/office/drawing/2014/main" id="{34E5832F-E47D-471D-8E29-C9958C391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353" y="1900500"/>
            <a:ext cx="2700000" cy="2880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8" name="Pladsholder til tekst 10">
            <a:extLst>
              <a:ext uri="{FF2B5EF4-FFF2-40B4-BE49-F238E27FC236}">
                <a16:creationId xmlns:a16="http://schemas.microsoft.com/office/drawing/2014/main" id="{946C13FE-CCA1-4E5B-8033-E3BCC6D77B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32353" y="2384187"/>
            <a:ext cx="2700000" cy="180000"/>
          </a:xfr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5" name="Pladsholder til tekst 10">
            <a:extLst>
              <a:ext uri="{FF2B5EF4-FFF2-40B4-BE49-F238E27FC236}">
                <a16:creationId xmlns:a16="http://schemas.microsoft.com/office/drawing/2014/main" id="{1907A869-1E6F-46F8-8DAB-BE81A5F5C42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32353" y="2585018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</a:t>
            </a:r>
          </a:p>
        </p:txBody>
      </p:sp>
      <p:sp>
        <p:nvSpPr>
          <p:cNvPr id="16" name="Pladsholder til tekst 10">
            <a:extLst>
              <a:ext uri="{FF2B5EF4-FFF2-40B4-BE49-F238E27FC236}">
                <a16:creationId xmlns:a16="http://schemas.microsoft.com/office/drawing/2014/main" id="{77DDAAC7-2C6A-4C41-A650-5986A132AE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32353" y="2785849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37F6921-5F7F-4B15-90B6-B775262A25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012" y="3428999"/>
            <a:ext cx="4197341" cy="2757105"/>
          </a:xfrm>
        </p:spPr>
        <p:txBody>
          <a:bodyPr/>
          <a:lstStyle>
            <a:lvl1pPr marL="144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0BB922A-361B-4C7E-AD6E-57329D7265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05513" y="1892300"/>
            <a:ext cx="5126037" cy="4286250"/>
          </a:xfrm>
        </p:spPr>
        <p:txBody>
          <a:bodyPr/>
          <a:lstStyle>
            <a:lvl1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9699946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dark green">
            <a:extLst>
              <a:ext uri="{FF2B5EF4-FFF2-40B4-BE49-F238E27FC236}">
                <a16:creationId xmlns:a16="http://schemas.microsoft.com/office/drawing/2014/main" id="{2C51A538-FCCF-4C59-BD87-D3EB1C3D3B84}"/>
              </a:ext>
            </a:extLst>
          </p:cNvPr>
          <p:cNvSpPr/>
          <p:nvPr userDrawn="1"/>
        </p:nvSpPr>
        <p:spPr>
          <a:xfrm flipV="1">
            <a:off x="733424" y="5296332"/>
            <a:ext cx="11458267" cy="15616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ktangel green">
            <a:extLst>
              <a:ext uri="{FF2B5EF4-FFF2-40B4-BE49-F238E27FC236}">
                <a16:creationId xmlns:a16="http://schemas.microsoft.com/office/drawing/2014/main" id="{12818191-2B9E-47B5-AD32-54EF77FE4413}"/>
              </a:ext>
            </a:extLst>
          </p:cNvPr>
          <p:cNvSpPr/>
          <p:nvPr userDrawn="1"/>
        </p:nvSpPr>
        <p:spPr>
          <a:xfrm flipV="1">
            <a:off x="733425" y="-1"/>
            <a:ext cx="11458575" cy="533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2199" y="1380478"/>
            <a:ext cx="5808825" cy="2393054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CCED638-3E73-4356-926B-F19BAF7AC3EE}"/>
              </a:ext>
            </a:extLst>
          </p:cNvPr>
          <p:cNvSpPr/>
          <p:nvPr userDrawn="1"/>
        </p:nvSpPr>
        <p:spPr>
          <a:xfrm>
            <a:off x="1502199" y="6155587"/>
            <a:ext cx="615350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GB" sz="2000" kern="1200" spc="-20" baseline="0" noProof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wiersholm.no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1C36ED33-D882-4A16-A1E1-33BF51AF10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4240" y="5838447"/>
            <a:ext cx="1654488" cy="610944"/>
          </a:xfrm>
          <a:prstGeom prst="rect">
            <a:avLst/>
          </a:prstGeom>
        </p:spPr>
      </p:pic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99042081-3232-47E9-8878-3FF523BF3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CB183117-3F34-490E-9E15-700734C03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80138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6D3B40-5920-431B-978B-3A46F838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AD3DF-DEBF-40DA-9B6C-DF020456C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FC3914-32B0-466E-9F35-C3975446C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9058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59CD73-C4D9-49D9-9949-028FD0AF4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80B32F-8A7F-481B-9B25-882A97B55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0037483-AFA7-4CD1-92B2-EE68F3BFF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6415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16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696275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right side of the screen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041497" y="1775872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53928" y="1613646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en-GB" altLang="da-DK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73807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74348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041497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80229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80229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097518" y="3881432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344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en-GB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9773" y="506111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080228" y="5077014"/>
            <a:ext cx="475428" cy="1767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D650EE5-068B-445A-B67F-781A28851CE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8553" y="1909678"/>
            <a:ext cx="622072" cy="17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73146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80384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3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10469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5925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4F662463-307C-45A0-8B6E-0873A9A71C9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761382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4400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17" userDrawn="1">
          <p15:clr>
            <a:srgbClr val="FBAE40"/>
          </p15:clr>
        </p15:guide>
        <p15:guide id="2" pos="5330" userDrawn="1">
          <p15:clr>
            <a:srgbClr val="FBAE40"/>
          </p15:clr>
        </p15:guide>
        <p15:guide id="3" pos="3827" userDrawn="1">
          <p15:clr>
            <a:srgbClr val="FBAE40"/>
          </p15:clr>
        </p15:guide>
        <p15:guide id="4" pos="3646" userDrawn="1">
          <p15:clr>
            <a:srgbClr val="FBAE40"/>
          </p15:clr>
        </p15:guide>
        <p15:guide id="5" pos="2146" userDrawn="1">
          <p15:clr>
            <a:srgbClr val="FBAE40"/>
          </p15:clr>
        </p15:guide>
        <p15:guide id="6" pos="19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913F5AC5-D709-45BD-A706-8F3A48A0278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870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B6491E3A-E297-48E9-9CBF-6A1149EDCF7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339394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A97DC24F-E132-4E99-B1E5-18B8C16CB11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944653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D5DD641E-601A-4024-8F9C-E2480B50E74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565542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4185225D-B7B6-4135-A528-D9E082387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870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1BDA27CD-3501-42B7-A4C4-751C44049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870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914B21AE-7E0D-4531-80F9-97CE84DC3A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7870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FFB1F37B-0C31-43FA-8FD0-97AB95D778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7870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8DFD173E-9E1F-4263-BEE4-44B7A3CC87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39394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DCDDFB0D-C2ED-4FB5-A0D7-6BA57409AA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339394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A148D81A-CB2B-4D16-A0C4-5FF28AA29F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39394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49788E7A-94E1-41F0-8307-E9A58C0BE7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339394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D9E49EC0-5588-4238-ACE2-C932D36AFA2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44653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BF0E74F2-FA85-4EC4-ADBF-B7E3A3CA0F2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944653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BC92028E-2970-4107-B9CC-04D67FFD40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44653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5A245984-8F5E-41C9-8CF6-8BB28DFA262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44653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03FC57F0-D9E4-4FFC-AFDA-EC75A9685FF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5542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66C8C1AB-0441-42D4-8F79-0BDF47646AC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5542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27D66AA1-E34D-40AF-9252-530771F6F31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65542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535F3CEE-F8DF-4F64-ACB7-BDB17C39F1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565542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2B9F30-5054-4E45-B112-AD0258A9EDD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3501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EB3757E2-9A36-4529-A195-D4340A58545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339394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450EE70E-10AC-4FA1-AAB7-277427ADC2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944653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C20FFCE0-6186-4992-939E-E879CA7F088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56554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9628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mult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E29149-3902-42F1-870A-276BC7A13A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35311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D241C3B9-5AD6-4B93-952D-49B1B4140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35311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22" name="Pladsholder til tekst 10">
            <a:extLst>
              <a:ext uri="{FF2B5EF4-FFF2-40B4-BE49-F238E27FC236}">
                <a16:creationId xmlns:a16="http://schemas.microsoft.com/office/drawing/2014/main" id="{26DCF766-5098-4888-8430-85073B834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35311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1840713-CECD-4D22-96B4-8945D9F4CF8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14827" y="1884047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B16EF6E-FBD9-45EA-BD6D-447CCEBCC9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7164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4F478B86-DB2D-4B3E-8DA6-30620912896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68072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EB4C39E-F4BE-4564-BD85-11455D43630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135311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B0E0438-747E-473A-B972-A3494852F34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614827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2F0C5F6-E777-4BA6-92BF-D1ED3ABFCE8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097164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7CEF7E1-CB7D-4757-92C3-CDBE3E6113B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568072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4" name="Pladsholder til tekst 10">
            <a:extLst>
              <a:ext uri="{FF2B5EF4-FFF2-40B4-BE49-F238E27FC236}">
                <a16:creationId xmlns:a16="http://schemas.microsoft.com/office/drawing/2014/main" id="{B126FC31-18C4-486F-AB95-0CA86E492A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35311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366971B2-2756-4926-AA5E-B19410F6F6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35311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E81A9805-1F78-4DEF-8C63-6DBF755FEC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14827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4BC20E61-C766-4BC0-97A9-93C695B52E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14827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E9780EB6-79A7-4A9D-9F28-2BA1D0A3BE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614827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6965CD96-B91C-46D7-B352-002ABE85FE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14827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0" name="Pladsholder til tekst 10">
            <a:extLst>
              <a:ext uri="{FF2B5EF4-FFF2-40B4-BE49-F238E27FC236}">
                <a16:creationId xmlns:a16="http://schemas.microsoft.com/office/drawing/2014/main" id="{500B62DC-F9ED-46DF-BBE3-6BA3CF1EBBB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7164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1" name="Pladsholder til tekst 10">
            <a:extLst>
              <a:ext uri="{FF2B5EF4-FFF2-40B4-BE49-F238E27FC236}">
                <a16:creationId xmlns:a16="http://schemas.microsoft.com/office/drawing/2014/main" id="{89D77EE9-0C6B-4F22-A688-B251EC36786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97164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2" name="Pladsholder til tekst 10">
            <a:extLst>
              <a:ext uri="{FF2B5EF4-FFF2-40B4-BE49-F238E27FC236}">
                <a16:creationId xmlns:a16="http://schemas.microsoft.com/office/drawing/2014/main" id="{55301594-B401-42C2-9A15-CBA9FB4F2A0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97164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3" name="Pladsholder til tekst 10">
            <a:extLst>
              <a:ext uri="{FF2B5EF4-FFF2-40B4-BE49-F238E27FC236}">
                <a16:creationId xmlns:a16="http://schemas.microsoft.com/office/drawing/2014/main" id="{626A94EC-17E2-4065-A166-109981F3287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097164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F34F30B1-6F93-4411-A3CC-3CEB463B072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568072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8E8DE5A3-496F-4E14-B1E7-7C3911A65D3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8072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00D2D09E-9CD9-4BCF-8592-793EFB3E96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8072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B1E25204-4903-4E2B-9FFF-4983E12A348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8072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C695425D-CF15-4573-B3AC-D577E591EC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135311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E51A13BA-E109-47E4-BB29-0A5BB3A97C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35311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75715D88-109E-49A3-A3B8-C3620824C77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35311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2A0B1168-EBA2-418C-9602-3CE505C8882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35311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B4B4E88D-9545-4B48-91B3-730F8BDB63A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14827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7BF4D617-CE98-4D1E-A0CB-FF0352CB2DD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14827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39E1D4F9-A925-4BD6-B741-2A2F24FEE8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614827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5" name="Pladsholder til tekst 10">
            <a:extLst>
              <a:ext uri="{FF2B5EF4-FFF2-40B4-BE49-F238E27FC236}">
                <a16:creationId xmlns:a16="http://schemas.microsoft.com/office/drawing/2014/main" id="{80DDB5B9-EFEA-4EF6-9352-100F8FA83E6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14827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6" name="Pladsholder til tekst 10">
            <a:extLst>
              <a:ext uri="{FF2B5EF4-FFF2-40B4-BE49-F238E27FC236}">
                <a16:creationId xmlns:a16="http://schemas.microsoft.com/office/drawing/2014/main" id="{985E4140-F8AC-473E-B6F0-538FFDC7C87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097164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7" name="Pladsholder til tekst 10">
            <a:extLst>
              <a:ext uri="{FF2B5EF4-FFF2-40B4-BE49-F238E27FC236}">
                <a16:creationId xmlns:a16="http://schemas.microsoft.com/office/drawing/2014/main" id="{1DD2A5B6-0886-4D15-9143-9B5DE1B7410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097164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8" name="Pladsholder til tekst 10">
            <a:extLst>
              <a:ext uri="{FF2B5EF4-FFF2-40B4-BE49-F238E27FC236}">
                <a16:creationId xmlns:a16="http://schemas.microsoft.com/office/drawing/2014/main" id="{3DD614D7-30B2-42B0-B11F-3CF5D24CC2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097164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9" name="Pladsholder til tekst 10">
            <a:extLst>
              <a:ext uri="{FF2B5EF4-FFF2-40B4-BE49-F238E27FC236}">
                <a16:creationId xmlns:a16="http://schemas.microsoft.com/office/drawing/2014/main" id="{35B9E924-85AA-4A62-9BF6-B6781295F34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097164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70" name="Pladsholder til tekst 10">
            <a:extLst>
              <a:ext uri="{FF2B5EF4-FFF2-40B4-BE49-F238E27FC236}">
                <a16:creationId xmlns:a16="http://schemas.microsoft.com/office/drawing/2014/main" id="{B4F1EF7C-5F9D-44D2-A011-53CF8B895CD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568072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71" name="Pladsholder til tekst 10">
            <a:extLst>
              <a:ext uri="{FF2B5EF4-FFF2-40B4-BE49-F238E27FC236}">
                <a16:creationId xmlns:a16="http://schemas.microsoft.com/office/drawing/2014/main" id="{B56695BB-073D-418B-BB49-2EA31C26DE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568072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72" name="Pladsholder til tekst 10">
            <a:extLst>
              <a:ext uri="{FF2B5EF4-FFF2-40B4-BE49-F238E27FC236}">
                <a16:creationId xmlns:a16="http://schemas.microsoft.com/office/drawing/2014/main" id="{8DCCBF9A-8A72-41C0-89D7-5D90AD59A7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568072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73" name="Pladsholder til tekst 10">
            <a:extLst>
              <a:ext uri="{FF2B5EF4-FFF2-40B4-BE49-F238E27FC236}">
                <a16:creationId xmlns:a16="http://schemas.microsoft.com/office/drawing/2014/main" id="{02697809-560F-417A-9B7E-FBDE1E8AF5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568072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</p:spTree>
    <p:extLst>
      <p:ext uri="{BB962C8B-B14F-4D97-AF65-F5344CB8AC3E}">
        <p14:creationId xmlns:p14="http://schemas.microsoft.com/office/powerpoint/2010/main" val="25182461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24B17F4-758C-4396-B266-27C151BBFD37}"/>
              </a:ext>
            </a:extLst>
          </p:cNvPr>
          <p:cNvSpPr/>
          <p:nvPr userDrawn="1"/>
        </p:nvSpPr>
        <p:spPr>
          <a:xfrm>
            <a:off x="-1" y="0"/>
            <a:ext cx="52413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DFEC46-4C10-42A4-AC67-3583EE1A7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50D7653E-5742-41AD-8CA9-F47F3365F1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E2C1FAB2-A422-4F22-BEF7-FB9CF912CC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8845AA35-7716-4D15-8D84-83280DB9C1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F5DD6DB-8616-49DB-BE16-35B925BBEE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5012" y="1900500"/>
            <a:ext cx="1144800" cy="11448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.</a:t>
            </a:r>
          </a:p>
        </p:txBody>
      </p:sp>
      <p:sp>
        <p:nvSpPr>
          <p:cNvPr id="7" name="Pladsholder til tekst 10">
            <a:extLst>
              <a:ext uri="{FF2B5EF4-FFF2-40B4-BE49-F238E27FC236}">
                <a16:creationId xmlns:a16="http://schemas.microsoft.com/office/drawing/2014/main" id="{34E5832F-E47D-471D-8E29-C9958C391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353" y="1900500"/>
            <a:ext cx="2700000" cy="2880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8" name="Pladsholder til tekst 10">
            <a:extLst>
              <a:ext uri="{FF2B5EF4-FFF2-40B4-BE49-F238E27FC236}">
                <a16:creationId xmlns:a16="http://schemas.microsoft.com/office/drawing/2014/main" id="{946C13FE-CCA1-4E5B-8033-E3BCC6D77B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32353" y="2384187"/>
            <a:ext cx="2700000" cy="180000"/>
          </a:xfr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5" name="Pladsholder til tekst 10">
            <a:extLst>
              <a:ext uri="{FF2B5EF4-FFF2-40B4-BE49-F238E27FC236}">
                <a16:creationId xmlns:a16="http://schemas.microsoft.com/office/drawing/2014/main" id="{1907A869-1E6F-46F8-8DAB-BE81A5F5C42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32353" y="2585018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</a:t>
            </a:r>
          </a:p>
        </p:txBody>
      </p:sp>
      <p:sp>
        <p:nvSpPr>
          <p:cNvPr id="16" name="Pladsholder til tekst 10">
            <a:extLst>
              <a:ext uri="{FF2B5EF4-FFF2-40B4-BE49-F238E27FC236}">
                <a16:creationId xmlns:a16="http://schemas.microsoft.com/office/drawing/2014/main" id="{77DDAAC7-2C6A-4C41-A650-5986A132AE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32353" y="2785849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37F6921-5F7F-4B15-90B6-B775262A25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012" y="3428999"/>
            <a:ext cx="4197341" cy="2757105"/>
          </a:xfrm>
        </p:spPr>
        <p:txBody>
          <a:bodyPr/>
          <a:lstStyle>
            <a:lvl1pPr marL="144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0BB922A-361B-4C7E-AD6E-57329D7265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05513" y="1892300"/>
            <a:ext cx="5126037" cy="4286250"/>
          </a:xfrm>
        </p:spPr>
        <p:txBody>
          <a:bodyPr/>
          <a:lstStyle>
            <a:lvl1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636939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dark green">
            <a:extLst>
              <a:ext uri="{FF2B5EF4-FFF2-40B4-BE49-F238E27FC236}">
                <a16:creationId xmlns:a16="http://schemas.microsoft.com/office/drawing/2014/main" id="{2C51A538-FCCF-4C59-BD87-D3EB1C3D3B84}"/>
              </a:ext>
            </a:extLst>
          </p:cNvPr>
          <p:cNvSpPr/>
          <p:nvPr userDrawn="1"/>
        </p:nvSpPr>
        <p:spPr>
          <a:xfrm flipV="1">
            <a:off x="733424" y="5296332"/>
            <a:ext cx="11458267" cy="15616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ktangel green">
            <a:extLst>
              <a:ext uri="{FF2B5EF4-FFF2-40B4-BE49-F238E27FC236}">
                <a16:creationId xmlns:a16="http://schemas.microsoft.com/office/drawing/2014/main" id="{12818191-2B9E-47B5-AD32-54EF77FE4413}"/>
              </a:ext>
            </a:extLst>
          </p:cNvPr>
          <p:cNvSpPr/>
          <p:nvPr userDrawn="1"/>
        </p:nvSpPr>
        <p:spPr>
          <a:xfrm flipV="1">
            <a:off x="733425" y="-1"/>
            <a:ext cx="11458575" cy="533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2199" y="1380478"/>
            <a:ext cx="5808825" cy="2393054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CCED638-3E73-4356-926B-F19BAF7AC3EE}"/>
              </a:ext>
            </a:extLst>
          </p:cNvPr>
          <p:cNvSpPr/>
          <p:nvPr userDrawn="1"/>
        </p:nvSpPr>
        <p:spPr>
          <a:xfrm>
            <a:off x="1502199" y="6155587"/>
            <a:ext cx="615350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GB" sz="2000" kern="1200" spc="-20" baseline="0" noProof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wiersholm.no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1C36ED33-D882-4A16-A1E1-33BF51AF10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4240" y="5838447"/>
            <a:ext cx="1654488" cy="610944"/>
          </a:xfrm>
          <a:prstGeom prst="rect">
            <a:avLst/>
          </a:prstGeom>
        </p:spPr>
      </p:pic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99042081-3232-47E9-8878-3FF523BF3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CB183117-3F34-490E-9E15-700734C03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59250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6D3B40-5920-431B-978B-3A46F838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AD3DF-DEBF-40DA-9B6C-DF020456C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FC3914-32B0-466E-9F35-C3975446C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59CD73-C4D9-49D9-9949-028FD0AF4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80B32F-8A7F-481B-9B25-882A97B55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0037483-AFA7-4CD1-92B2-EE68F3BFF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white">
            <a:extLst>
              <a:ext uri="{FF2B5EF4-FFF2-40B4-BE49-F238E27FC236}">
                <a16:creationId xmlns:a16="http://schemas.microsoft.com/office/drawing/2014/main" id="{B2C6478D-A4B2-4C40-8C24-93A50435F7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85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EEA8104-DA24-4CF5-BC37-AB4E5295CD2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blipFill>
            <a:blip r:embed="rId2"/>
            <a:stretch>
              <a:fillRect/>
            </a:stretch>
          </a:blip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3"/>
            <a:ext cx="10398125" cy="79136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lace and date e.g. 05.06.2019</a:t>
            </a:r>
          </a:p>
        </p:txBody>
      </p:sp>
      <p:sp>
        <p:nvSpPr>
          <p:cNvPr id="5" name="Text Placeholder logo">
            <a:extLst>
              <a:ext uri="{FF2B5EF4-FFF2-40B4-BE49-F238E27FC236}">
                <a16:creationId xmlns:a16="http://schemas.microsoft.com/office/drawing/2014/main" id="{482372E2-DC37-41F0-9153-66B7272D28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5514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16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right side of the screen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041497" y="1775872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53928" y="1613646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en-GB" altLang="da-DK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73807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74348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041497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80229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80229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097518" y="3881432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344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en-GB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9773" y="506111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080228" y="5077014"/>
            <a:ext cx="475428" cy="1767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D650EE5-068B-445A-B67F-781A28851CE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8553" y="1909678"/>
            <a:ext cx="622072" cy="17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252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ggrund">
            <a:extLst>
              <a:ext uri="{FF2B5EF4-FFF2-40B4-BE49-F238E27FC236}">
                <a16:creationId xmlns:a16="http://schemas.microsoft.com/office/drawing/2014/main" id="{EC618CB3-04BA-4401-812E-63C28B44F1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Billedepladsholder">
            <a:extLst>
              <a:ext uri="{FF2B5EF4-FFF2-40B4-BE49-F238E27FC236}">
                <a16:creationId xmlns:a16="http://schemas.microsoft.com/office/drawing/2014/main" id="{6EDC60C6-0A52-4842-A54D-CED822B393A1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2192000" cy="4571398"/>
          </a:xfrm>
          <a:custGeom>
            <a:avLst/>
            <a:gdLst>
              <a:gd name="connsiteX0" fmla="*/ 12191999 w 12192000"/>
              <a:gd name="connsiteY0" fmla="*/ 4185916 h 4571398"/>
              <a:gd name="connsiteX1" fmla="*/ 12192000 w 12192000"/>
              <a:gd name="connsiteY1" fmla="*/ 4185916 h 4571398"/>
              <a:gd name="connsiteX2" fmla="*/ 12192000 w 12192000"/>
              <a:gd name="connsiteY2" fmla="*/ 4571398 h 4571398"/>
              <a:gd name="connsiteX3" fmla="*/ 12191999 w 12192000"/>
              <a:gd name="connsiteY3" fmla="*/ 4571398 h 4571398"/>
              <a:gd name="connsiteX4" fmla="*/ 0 w 12192000"/>
              <a:gd name="connsiteY4" fmla="*/ 0 h 4571398"/>
              <a:gd name="connsiteX5" fmla="*/ 12192000 w 12192000"/>
              <a:gd name="connsiteY5" fmla="*/ 0 h 4571398"/>
              <a:gd name="connsiteX6" fmla="*/ 12192000 w 12192000"/>
              <a:gd name="connsiteY6" fmla="*/ 3429001 h 4571398"/>
              <a:gd name="connsiteX7" fmla="*/ 17 w 12192000"/>
              <a:gd name="connsiteY7" fmla="*/ 4185915 h 4571398"/>
              <a:gd name="connsiteX8" fmla="*/ 0 w 12192000"/>
              <a:gd name="connsiteY8" fmla="*/ 4185915 h 4571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571398">
                <a:moveTo>
                  <a:pt x="12191999" y="4185916"/>
                </a:moveTo>
                <a:lnTo>
                  <a:pt x="12192000" y="4185916"/>
                </a:lnTo>
                <a:lnTo>
                  <a:pt x="12192000" y="4571398"/>
                </a:lnTo>
                <a:lnTo>
                  <a:pt x="12191999" y="457139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17" name="Farvet trekant">
            <a:extLst>
              <a:ext uri="{FF2B5EF4-FFF2-40B4-BE49-F238E27FC236}">
                <a16:creationId xmlns:a16="http://schemas.microsoft.com/office/drawing/2014/main" id="{4AD748CB-8298-4444-ACC2-651F422403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3417571"/>
            <a:ext cx="12192001" cy="3428999"/>
          </a:xfrm>
          <a:custGeom>
            <a:avLst/>
            <a:gdLst>
              <a:gd name="connsiteX0" fmla="*/ 12192001 w 12192001"/>
              <a:gd name="connsiteY0" fmla="*/ 0 h 3428999"/>
              <a:gd name="connsiteX1" fmla="*/ 12192001 w 12192001"/>
              <a:gd name="connsiteY1" fmla="*/ 756915 h 3428999"/>
              <a:gd name="connsiteX2" fmla="*/ 12191999 w 12192001"/>
              <a:gd name="connsiteY2" fmla="*/ 756915 h 3428999"/>
              <a:gd name="connsiteX3" fmla="*/ 12191999 w 12192001"/>
              <a:gd name="connsiteY3" fmla="*/ 3428999 h 3428999"/>
              <a:gd name="connsiteX4" fmla="*/ 0 w 12192001"/>
              <a:gd name="connsiteY4" fmla="*/ 3428999 h 3428999"/>
              <a:gd name="connsiteX5" fmla="*/ 0 w 12192001"/>
              <a:gd name="connsiteY5" fmla="*/ 756914 h 3428999"/>
              <a:gd name="connsiteX6" fmla="*/ 17 w 12192001"/>
              <a:gd name="connsiteY6" fmla="*/ 756914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3428999">
                <a:moveTo>
                  <a:pt x="12192001" y="0"/>
                </a:moveTo>
                <a:lnTo>
                  <a:pt x="12192001" y="756915"/>
                </a:lnTo>
                <a:lnTo>
                  <a:pt x="12191999" y="756915"/>
                </a:lnTo>
                <a:lnTo>
                  <a:pt x="12191999" y="3428999"/>
                </a:lnTo>
                <a:lnTo>
                  <a:pt x="0" y="3428999"/>
                </a:lnTo>
                <a:lnTo>
                  <a:pt x="0" y="756914"/>
                </a:lnTo>
                <a:lnTo>
                  <a:pt x="17" y="756914"/>
                </a:lnTo>
                <a:close/>
              </a:path>
            </a:pathLst>
          </a:custGeom>
          <a:solidFill>
            <a:srgbClr val="1F323F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/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Responsible partner/lawyer</a:t>
            </a:r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B44EC84B-806C-4B07-86DD-028339B78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lace and date</a:t>
            </a:r>
          </a:p>
        </p:txBody>
      </p:sp>
      <p:sp>
        <p:nvSpPr>
          <p:cNvPr id="14" name="Logo Placeholder 9">
            <a:extLst>
              <a:ext uri="{FF2B5EF4-FFF2-40B4-BE49-F238E27FC236}">
                <a16:creationId xmlns:a16="http://schemas.microsoft.com/office/drawing/2014/main" id="{3AD81D36-987F-4D52-8D80-C1745AEED8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600" y="6332837"/>
            <a:ext cx="946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 </a:t>
            </a:r>
          </a:p>
        </p:txBody>
      </p:sp>
      <p:sp>
        <p:nvSpPr>
          <p:cNvPr id="7" name="Pladsholder til dato 6" hidden="1">
            <a:extLst>
              <a:ext uri="{FF2B5EF4-FFF2-40B4-BE49-F238E27FC236}">
                <a16:creationId xmlns:a16="http://schemas.microsoft.com/office/drawing/2014/main" id="{25256112-EFC5-4AB4-92D9-C6339E38848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Pladsholder til sidefod 7" hidden="1">
            <a:extLst>
              <a:ext uri="{FF2B5EF4-FFF2-40B4-BE49-F238E27FC236}">
                <a16:creationId xmlns:a16="http://schemas.microsoft.com/office/drawing/2014/main" id="{96149DA1-F21E-4C47-86BC-C3BB5B6015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Pladsholder til slidenummer 8" hidden="1">
            <a:extLst>
              <a:ext uri="{FF2B5EF4-FFF2-40B4-BE49-F238E27FC236}">
                <a16:creationId xmlns:a16="http://schemas.microsoft.com/office/drawing/2014/main" id="{BC9F8801-F561-4DF2-9565-59B3DECD1A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7321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rund">
            <a:extLst>
              <a:ext uri="{FF2B5EF4-FFF2-40B4-BE49-F238E27FC236}">
                <a16:creationId xmlns:a16="http://schemas.microsoft.com/office/drawing/2014/main" id="{3A880CA5-BDB7-489E-8634-A5640F16A9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Billedepladsholder">
            <a:extLst>
              <a:ext uri="{FF2B5EF4-FFF2-40B4-BE49-F238E27FC236}">
                <a16:creationId xmlns:a16="http://schemas.microsoft.com/office/drawing/2014/main" id="{4835378B-5E44-4B8F-9E4B-00780A951C7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2192000" cy="4571398"/>
          </a:xfrm>
          <a:custGeom>
            <a:avLst/>
            <a:gdLst>
              <a:gd name="connsiteX0" fmla="*/ 12191999 w 12192000"/>
              <a:gd name="connsiteY0" fmla="*/ 4185916 h 4571398"/>
              <a:gd name="connsiteX1" fmla="*/ 12192000 w 12192000"/>
              <a:gd name="connsiteY1" fmla="*/ 4185916 h 4571398"/>
              <a:gd name="connsiteX2" fmla="*/ 12192000 w 12192000"/>
              <a:gd name="connsiteY2" fmla="*/ 4571398 h 4571398"/>
              <a:gd name="connsiteX3" fmla="*/ 12191999 w 12192000"/>
              <a:gd name="connsiteY3" fmla="*/ 4571398 h 4571398"/>
              <a:gd name="connsiteX4" fmla="*/ 0 w 12192000"/>
              <a:gd name="connsiteY4" fmla="*/ 0 h 4571398"/>
              <a:gd name="connsiteX5" fmla="*/ 12192000 w 12192000"/>
              <a:gd name="connsiteY5" fmla="*/ 0 h 4571398"/>
              <a:gd name="connsiteX6" fmla="*/ 12192000 w 12192000"/>
              <a:gd name="connsiteY6" fmla="*/ 3429001 h 4571398"/>
              <a:gd name="connsiteX7" fmla="*/ 17 w 12192000"/>
              <a:gd name="connsiteY7" fmla="*/ 4185915 h 4571398"/>
              <a:gd name="connsiteX8" fmla="*/ 0 w 12192000"/>
              <a:gd name="connsiteY8" fmla="*/ 4185915 h 4571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571398">
                <a:moveTo>
                  <a:pt x="12191999" y="4185916"/>
                </a:moveTo>
                <a:lnTo>
                  <a:pt x="12192000" y="4185916"/>
                </a:lnTo>
                <a:lnTo>
                  <a:pt x="12192000" y="4571398"/>
                </a:lnTo>
                <a:lnTo>
                  <a:pt x="12191999" y="457139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17" name="Farvet trekant">
            <a:extLst>
              <a:ext uri="{FF2B5EF4-FFF2-40B4-BE49-F238E27FC236}">
                <a16:creationId xmlns:a16="http://schemas.microsoft.com/office/drawing/2014/main" id="{44076839-9959-4BD5-B29F-78C07912F3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3417571"/>
            <a:ext cx="12192001" cy="3428999"/>
          </a:xfrm>
          <a:custGeom>
            <a:avLst/>
            <a:gdLst>
              <a:gd name="connsiteX0" fmla="*/ 12192001 w 12192001"/>
              <a:gd name="connsiteY0" fmla="*/ 0 h 3428999"/>
              <a:gd name="connsiteX1" fmla="*/ 12192001 w 12192001"/>
              <a:gd name="connsiteY1" fmla="*/ 756915 h 3428999"/>
              <a:gd name="connsiteX2" fmla="*/ 12191999 w 12192001"/>
              <a:gd name="connsiteY2" fmla="*/ 756915 h 3428999"/>
              <a:gd name="connsiteX3" fmla="*/ 12191999 w 12192001"/>
              <a:gd name="connsiteY3" fmla="*/ 3428999 h 3428999"/>
              <a:gd name="connsiteX4" fmla="*/ 0 w 12192001"/>
              <a:gd name="connsiteY4" fmla="*/ 3428999 h 3428999"/>
              <a:gd name="connsiteX5" fmla="*/ 0 w 12192001"/>
              <a:gd name="connsiteY5" fmla="*/ 756914 h 3428999"/>
              <a:gd name="connsiteX6" fmla="*/ 17 w 12192001"/>
              <a:gd name="connsiteY6" fmla="*/ 756914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3428999">
                <a:moveTo>
                  <a:pt x="12192001" y="0"/>
                </a:moveTo>
                <a:lnTo>
                  <a:pt x="12192001" y="756915"/>
                </a:lnTo>
                <a:lnTo>
                  <a:pt x="12191999" y="756915"/>
                </a:lnTo>
                <a:lnTo>
                  <a:pt x="12191999" y="3428999"/>
                </a:lnTo>
                <a:lnTo>
                  <a:pt x="0" y="3428999"/>
                </a:lnTo>
                <a:lnTo>
                  <a:pt x="0" y="756914"/>
                </a:lnTo>
                <a:lnTo>
                  <a:pt x="17" y="756914"/>
                </a:lnTo>
                <a:close/>
              </a:path>
            </a:pathLst>
          </a:custGeom>
          <a:solidFill>
            <a:srgbClr val="365A1F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itle/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Responsible partner/lawyer</a:t>
            </a:r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BA354F71-8FBB-4ACA-BDEF-ECD16B022C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lace and date</a:t>
            </a:r>
          </a:p>
        </p:txBody>
      </p:sp>
      <p:sp>
        <p:nvSpPr>
          <p:cNvPr id="19" name="Logo Placeholder 9">
            <a:extLst>
              <a:ext uri="{FF2B5EF4-FFF2-40B4-BE49-F238E27FC236}">
                <a16:creationId xmlns:a16="http://schemas.microsoft.com/office/drawing/2014/main" id="{EE93BE7D-6461-49FC-BA03-17E8D036F1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600" y="6332837"/>
            <a:ext cx="946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 </a:t>
            </a:r>
          </a:p>
        </p:txBody>
      </p:sp>
      <p:sp>
        <p:nvSpPr>
          <p:cNvPr id="11" name="Pladsholder til dato 6" hidden="1">
            <a:extLst>
              <a:ext uri="{FF2B5EF4-FFF2-40B4-BE49-F238E27FC236}">
                <a16:creationId xmlns:a16="http://schemas.microsoft.com/office/drawing/2014/main" id="{746D713B-5375-42B1-921D-4CE45DCF500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dsholder til sidefod 7" hidden="1">
            <a:extLst>
              <a:ext uri="{FF2B5EF4-FFF2-40B4-BE49-F238E27FC236}">
                <a16:creationId xmlns:a16="http://schemas.microsoft.com/office/drawing/2014/main" id="{EE594779-B2F9-495E-9A01-86707950BC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Pladsholder til slidenummer 8" hidden="1">
            <a:extLst>
              <a:ext uri="{FF2B5EF4-FFF2-40B4-BE49-F238E27FC236}">
                <a16:creationId xmlns:a16="http://schemas.microsoft.com/office/drawing/2014/main" id="{D510EB80-237C-460C-9837-A38FC165E7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2318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C618CB3-04BA-4401-812E-63C28B44F1C8}"/>
              </a:ext>
            </a:extLst>
          </p:cNvPr>
          <p:cNvSpPr/>
          <p:nvPr userDrawn="1"/>
        </p:nvSpPr>
        <p:spPr>
          <a:xfrm>
            <a:off x="0" y="0"/>
            <a:ext cx="12180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69BD295-9DC0-44C6-B9D1-F51BFD620B8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1"/>
            <a:ext cx="12192000" cy="4185915"/>
          </a:xfrm>
          <a:custGeom>
            <a:avLst/>
            <a:gdLst>
              <a:gd name="connsiteX0" fmla="*/ 0 w 12192000"/>
              <a:gd name="connsiteY0" fmla="*/ 0 h 4185915"/>
              <a:gd name="connsiteX1" fmla="*/ 12192000 w 12192000"/>
              <a:gd name="connsiteY1" fmla="*/ 0 h 4185915"/>
              <a:gd name="connsiteX2" fmla="*/ 12192000 w 12192000"/>
              <a:gd name="connsiteY2" fmla="*/ 3429001 h 4185915"/>
              <a:gd name="connsiteX3" fmla="*/ 17 w 12192000"/>
              <a:gd name="connsiteY3" fmla="*/ 4185915 h 4185915"/>
              <a:gd name="connsiteX4" fmla="*/ 0 w 12192000"/>
              <a:gd name="connsiteY4" fmla="*/ 4185915 h 4185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185915"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/heading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Responsible partner/lawyer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BBCCE309-CE82-4759-9FF2-E8FDDFA72B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Place and date</a:t>
            </a:r>
          </a:p>
        </p:txBody>
      </p:sp>
      <p:sp>
        <p:nvSpPr>
          <p:cNvPr id="14" name="Pladsholder til dato 6" hidden="1">
            <a:extLst>
              <a:ext uri="{FF2B5EF4-FFF2-40B4-BE49-F238E27FC236}">
                <a16:creationId xmlns:a16="http://schemas.microsoft.com/office/drawing/2014/main" id="{B220788A-F7B1-434A-9E6C-F83AEF3070F7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Pladsholder til sidefod 7" hidden="1">
            <a:extLst>
              <a:ext uri="{FF2B5EF4-FFF2-40B4-BE49-F238E27FC236}">
                <a16:creationId xmlns:a16="http://schemas.microsoft.com/office/drawing/2014/main" id="{A42F2B18-277D-4020-9D9C-A0A9397CB3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6" name="Pladsholder til slidenummer 8" hidden="1">
            <a:extLst>
              <a:ext uri="{FF2B5EF4-FFF2-40B4-BE49-F238E27FC236}">
                <a16:creationId xmlns:a16="http://schemas.microsoft.com/office/drawing/2014/main" id="{E74F7856-FA90-40C8-BC34-C461D3923E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F968D5E0-FDE4-4092-847F-D314EFE1D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4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9017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10752137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1BE294D0-F4CF-44EE-B92C-8A9E17153A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29F1493E-3D04-4B0A-88D0-0B0924C611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B5BBC643-F26D-4262-BBB4-B6B6BC38C6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21838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5195887" cy="4312800"/>
          </a:xfrm>
        </p:spPr>
        <p:txBody>
          <a:bodyPr/>
          <a:lstStyle>
            <a:lvl2pPr>
              <a:defRPr sz="1600"/>
            </a:lvl2pPr>
          </a:lstStyle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3A2AEE14-0556-44B2-ACD9-4B889A4606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76977" y="1776413"/>
            <a:ext cx="5195887" cy="4312800"/>
          </a:xfrm>
        </p:spPr>
        <p:txBody>
          <a:bodyPr/>
          <a:lstStyle>
            <a:lvl2pPr>
              <a:defRPr sz="1600"/>
            </a:lvl2pPr>
          </a:lstStyle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76F58D3D-A6BB-4D80-B6B0-37A7BCB2255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Pladsholder til dato 11" hidden="1">
            <a:extLst>
              <a:ext uri="{FF2B5EF4-FFF2-40B4-BE49-F238E27FC236}">
                <a16:creationId xmlns:a16="http://schemas.microsoft.com/office/drawing/2014/main" id="{F1D537F0-2589-40FB-B649-35D5503B2F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Pladsholder til sidefod 12" hidden="1">
            <a:extLst>
              <a:ext uri="{FF2B5EF4-FFF2-40B4-BE49-F238E27FC236}">
                <a16:creationId xmlns:a16="http://schemas.microsoft.com/office/drawing/2014/main" id="{B492F492-5757-499A-B34C-0115CDD36F0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69459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3345919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EDD653C-D30C-49C7-92C7-C9CFE6C5F9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22246" y="1776413"/>
            <a:ext cx="3345920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737FFDA-C10C-48FA-8FD6-D3CE1E95E81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25354" y="1776413"/>
            <a:ext cx="3345920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EB971048-CEC3-4836-895E-84B88FE13C4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7924CAD1-D8B5-4541-9BE2-3FE4EDD6559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F580D769-D275-49F4-B997-350E684788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5999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9" y="1776413"/>
            <a:ext cx="2417762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EDD653C-D30C-49C7-92C7-C9CFE6C5F9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98852" y="1776413"/>
            <a:ext cx="2417762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737FFDA-C10C-48FA-8FD6-D3CE1E95E81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3800" y="1776413"/>
            <a:ext cx="2417762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96D4C59C-62E3-4819-8CBE-B3D14687658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53513" y="1776413"/>
            <a:ext cx="2417762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6" name="Pladsholder til slidenummer 15">
            <a:extLst>
              <a:ext uri="{FF2B5EF4-FFF2-40B4-BE49-F238E27FC236}">
                <a16:creationId xmlns:a16="http://schemas.microsoft.com/office/drawing/2014/main" id="{61F23571-FF83-4976-AD1A-11C076D5723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08D842F6-1027-4BBC-928D-DCBB2A3F486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D2031B72-11B4-4AF3-922A-505384B29C4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9595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00A0C9-C66C-4C37-85AB-4AB7079E9F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34711" y="1310615"/>
            <a:ext cx="761289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dirty="0" smtClean="0"/>
              <a:t>01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A113463-01E8-441B-8116-EDD41B0D6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20678" y="1310615"/>
            <a:ext cx="4910872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04065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138" y="1776413"/>
            <a:ext cx="5195887" cy="32369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138" y="2170444"/>
            <a:ext cx="5195887" cy="3917619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6976" y="1776413"/>
            <a:ext cx="5194299" cy="32369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388" y="2170444"/>
            <a:ext cx="5195887" cy="3917619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7514CA-0520-41A7-96F3-608AEDD1D6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6" name="Pladsholder til slidenummer 15">
            <a:extLst>
              <a:ext uri="{FF2B5EF4-FFF2-40B4-BE49-F238E27FC236}">
                <a16:creationId xmlns:a16="http://schemas.microsoft.com/office/drawing/2014/main" id="{D3F7D9AF-B45D-4B9C-88E5-7E252858E2B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Pladsholder til dato 13" hidden="1">
            <a:extLst>
              <a:ext uri="{FF2B5EF4-FFF2-40B4-BE49-F238E27FC236}">
                <a16:creationId xmlns:a16="http://schemas.microsoft.com/office/drawing/2014/main" id="{EB454509-A201-48EE-8D23-0A33621CA3A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Pladsholder til sidefod 14" hidden="1">
            <a:extLst>
              <a:ext uri="{FF2B5EF4-FFF2-40B4-BE49-F238E27FC236}">
                <a16:creationId xmlns:a16="http://schemas.microsoft.com/office/drawing/2014/main" id="{6A8C8D2F-E1FE-4B2E-ABE8-8C42EFCBD55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89282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ladsholder til dato 2" hidden="1">
            <a:extLst>
              <a:ext uri="{FF2B5EF4-FFF2-40B4-BE49-F238E27FC236}">
                <a16:creationId xmlns:a16="http://schemas.microsoft.com/office/drawing/2014/main" id="{6D9B0048-1DA2-44B8-AFA0-9FF9A3BA0F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Pladsholder til sidefod 8" hidden="1">
            <a:extLst>
              <a:ext uri="{FF2B5EF4-FFF2-40B4-BE49-F238E27FC236}">
                <a16:creationId xmlns:a16="http://schemas.microsoft.com/office/drawing/2014/main" id="{0E7A8B37-8DB2-44AA-BF1A-B63A1A9B8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Pladsholder til slidenummer 8" hidden="1">
            <a:extLst>
              <a:ext uri="{FF2B5EF4-FFF2-40B4-BE49-F238E27FC236}">
                <a16:creationId xmlns:a16="http://schemas.microsoft.com/office/drawing/2014/main" id="{44B7B3C3-79F2-4547-8366-D4DDD64265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295D957D-0191-426F-845F-74806521E3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3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4218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Pladsholder til dato 2" hidden="1">
            <a:extLst>
              <a:ext uri="{FF2B5EF4-FFF2-40B4-BE49-F238E27FC236}">
                <a16:creationId xmlns:a16="http://schemas.microsoft.com/office/drawing/2014/main" id="{E2C0AAEE-6012-4F2A-9807-E9328674CAC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dsholder til sidefod 8" hidden="1">
            <a:extLst>
              <a:ext uri="{FF2B5EF4-FFF2-40B4-BE49-F238E27FC236}">
                <a16:creationId xmlns:a16="http://schemas.microsoft.com/office/drawing/2014/main" id="{2F732A59-BCF2-459E-AF7E-7614071370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3" name="Pladsholder til slidenummer 8" hidden="1">
            <a:extLst>
              <a:ext uri="{FF2B5EF4-FFF2-40B4-BE49-F238E27FC236}">
                <a16:creationId xmlns:a16="http://schemas.microsoft.com/office/drawing/2014/main" id="{06F9CA9C-2678-4843-86B1-C07B555DB5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1F077A6-A2FA-439F-A953-93E21D29EE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3" cy="3492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8492A24-3811-42D0-944C-06345C62C6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6317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dato 2" hidden="1">
            <a:extLst>
              <a:ext uri="{FF2B5EF4-FFF2-40B4-BE49-F238E27FC236}">
                <a16:creationId xmlns:a16="http://schemas.microsoft.com/office/drawing/2014/main" id="{0B00C9E7-E6E9-4919-8B0B-567FFB60E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Pladsholder til sidefod 8" hidden="1">
            <a:extLst>
              <a:ext uri="{FF2B5EF4-FFF2-40B4-BE49-F238E27FC236}">
                <a16:creationId xmlns:a16="http://schemas.microsoft.com/office/drawing/2014/main" id="{1D2F35FD-176B-42A7-9D06-AB300C93E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Pladsholder til slidenummer 8" hidden="1">
            <a:extLst>
              <a:ext uri="{FF2B5EF4-FFF2-40B4-BE49-F238E27FC236}">
                <a16:creationId xmlns:a16="http://schemas.microsoft.com/office/drawing/2014/main" id="{B9F497FD-D0D1-4573-BC6F-44240DBF9C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426095C-CFD4-4320-AC37-F8E4A00CEA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4612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2" spcCol="50400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5BC06C3B-FDE6-449A-A234-D5FFFF0472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2BB1EF93-AA65-4ECF-A9C6-97B6E691323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83A9175C-6E4F-4D55-9F5F-5B18BD017C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74211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3" spcCol="50400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C1F8BD26-8F5D-46CF-8F81-985182A2D3D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E5F8FC9E-3388-43EA-A979-641D4920598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B674BE1B-6698-4F64-AA9B-2942C63B9D4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09179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4" spcCol="504000"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A374BA83-BF1D-494C-BEB1-7DEEA5019D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Pladsholder til dato 10" hidden="1">
            <a:extLst>
              <a:ext uri="{FF2B5EF4-FFF2-40B4-BE49-F238E27FC236}">
                <a16:creationId xmlns:a16="http://schemas.microsoft.com/office/drawing/2014/main" id="{EFD31B30-E66E-4DE8-8977-079A610EEDA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Pladsholder til sidefod 11" hidden="1">
            <a:extLst>
              <a:ext uri="{FF2B5EF4-FFF2-40B4-BE49-F238E27FC236}">
                <a16:creationId xmlns:a16="http://schemas.microsoft.com/office/drawing/2014/main" id="{D9342EE7-79D4-4528-BEC7-C2B99CC4823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037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5195887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049C48D-A7B6-4C42-9AC7-C6A1A83945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977" y="1776413"/>
            <a:ext cx="5194298" cy="4312800"/>
          </a:xfrm>
          <a:solidFill>
            <a:schemeClr val="bg2">
              <a:lumMod val="95000"/>
            </a:schemeClr>
          </a:solidFill>
        </p:spPr>
        <p:txBody>
          <a:bodyPr tIns="36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EB2A571F-2EA4-4377-A01F-1547B05A164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Pladsholder til dato 11" hidden="1">
            <a:extLst>
              <a:ext uri="{FF2B5EF4-FFF2-40B4-BE49-F238E27FC236}">
                <a16:creationId xmlns:a16="http://schemas.microsoft.com/office/drawing/2014/main" id="{8F7D059F-0A30-49A5-A002-6B759FCAA3D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Pladsholder til sidefod 12" hidden="1">
            <a:extLst>
              <a:ext uri="{FF2B5EF4-FFF2-40B4-BE49-F238E27FC236}">
                <a16:creationId xmlns:a16="http://schemas.microsoft.com/office/drawing/2014/main" id="{4D852DD8-1710-4FFD-86E7-BF5B451889C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78846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776413"/>
            <a:ext cx="5195887" cy="4312800"/>
          </a:xfrm>
        </p:spPr>
        <p:txBody>
          <a:bodyPr/>
          <a:lstStyle/>
          <a:p>
            <a:pPr lvl="0"/>
            <a:r>
              <a:rPr lang="en-GB" noProof="0" dirty="0" smtClean="0"/>
              <a:t>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049C48D-A7B6-4C42-9AC7-C6A1A83945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2315" y="1776413"/>
            <a:ext cx="5194298" cy="4312800"/>
          </a:xfrm>
          <a:solidFill>
            <a:schemeClr val="bg2">
              <a:lumMod val="95000"/>
            </a:schemeClr>
          </a:solidFill>
        </p:spPr>
        <p:txBody>
          <a:bodyPr tIns="36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4" name="Pladsholder til slidenummer 13">
            <a:extLst>
              <a:ext uri="{FF2B5EF4-FFF2-40B4-BE49-F238E27FC236}">
                <a16:creationId xmlns:a16="http://schemas.microsoft.com/office/drawing/2014/main" id="{4721F4E5-776F-4043-946F-81250BFC5A4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Pladsholder til dato 11" hidden="1">
            <a:extLst>
              <a:ext uri="{FF2B5EF4-FFF2-40B4-BE49-F238E27FC236}">
                <a16:creationId xmlns:a16="http://schemas.microsoft.com/office/drawing/2014/main" id="{CE843AB3-AA36-4DB3-8474-C4EE1C3D31C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Pladsholder til sidefod 12" hidden="1">
            <a:extLst>
              <a:ext uri="{FF2B5EF4-FFF2-40B4-BE49-F238E27FC236}">
                <a16:creationId xmlns:a16="http://schemas.microsoft.com/office/drawing/2014/main" id="{2B868F28-7EC5-429A-BAD2-553775BFADE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3582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solidFill>
            <a:schemeClr val="bg1"/>
          </a:solidFill>
        </p:spPr>
        <p:txBody>
          <a:bodyPr tIns="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D8813E97-C1D0-4CFD-B0F1-0CAB7A6521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92336E2A-4DDB-4175-88AE-0FBB814CADC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Pladsholder til sidefod 8" hidden="1">
            <a:extLst>
              <a:ext uri="{FF2B5EF4-FFF2-40B4-BE49-F238E27FC236}">
                <a16:creationId xmlns:a16="http://schemas.microsoft.com/office/drawing/2014/main" id="{A2EB5E9A-5082-4681-A197-706E787DD8F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0092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080868-ECCE-4A50-9CC9-55F5F3AD63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AFCBD021-CE79-4851-AA00-7763AC7DFC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4BB8F8D5-DB63-404E-B446-F1DEA8289F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CCB5E4-EEF8-4244-BB4F-2EC5A5734E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3820" y="1959835"/>
            <a:ext cx="6392498" cy="1177200"/>
          </a:xfrm>
        </p:spPr>
        <p:txBody>
          <a:bodyPr anchor="t" anchorCtr="0"/>
          <a:lstStyle>
            <a:lvl1pPr algn="l">
              <a:lnSpc>
                <a:spcPct val="99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9504989-647B-4BA0-A416-40731C2CE4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8890" y="1653357"/>
            <a:ext cx="1501626" cy="1176191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7200">
                <a:solidFill>
                  <a:schemeClr val="accent3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138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713822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08" userDrawn="1">
          <p15:clr>
            <a:srgbClr val="FBAE40"/>
          </p15:clr>
        </p15:guide>
        <p15:guide id="2" pos="141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lue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rgbClr val="1F323F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34188104-2484-44A6-9210-7A15E2A388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dsholder til dato 7" hidden="1">
            <a:extLst>
              <a:ext uri="{FF2B5EF4-FFF2-40B4-BE49-F238E27FC236}">
                <a16:creationId xmlns:a16="http://schemas.microsoft.com/office/drawing/2014/main" id="{5ABF6581-0DEE-4469-A16E-4A33F4A5F29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Pladsholder til sidefod 8" hidden="1">
            <a:extLst>
              <a:ext uri="{FF2B5EF4-FFF2-40B4-BE49-F238E27FC236}">
                <a16:creationId xmlns:a16="http://schemas.microsoft.com/office/drawing/2014/main" id="{59EDCB9B-B5A2-478B-B123-6540FC186F7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22572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een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rgbClr val="365A1F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EEBA6396-52E4-4712-9342-42133BD8EE1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69E3664F-5217-4F3D-B36F-9488079ACA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ladsholder til sidefod 6" hidden="1">
            <a:extLst>
              <a:ext uri="{FF2B5EF4-FFF2-40B4-BE49-F238E27FC236}">
                <a16:creationId xmlns:a16="http://schemas.microsoft.com/office/drawing/2014/main" id="{B3D3E702-3933-4147-884E-76CDCBC77D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88482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y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/>
            </a:lvl1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3E1912AB-37A6-4D23-AC7E-5A86B8200BD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dsholder til dato 2" hidden="1">
            <a:extLst>
              <a:ext uri="{FF2B5EF4-FFF2-40B4-BE49-F238E27FC236}">
                <a16:creationId xmlns:a16="http://schemas.microsoft.com/office/drawing/2014/main" id="{0B9376FE-FF95-4B3E-A9DC-1C38E11007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 hidden="1">
            <a:extLst>
              <a:ext uri="{FF2B5EF4-FFF2-40B4-BE49-F238E27FC236}">
                <a16:creationId xmlns:a16="http://schemas.microsoft.com/office/drawing/2014/main" id="{0B61BC8E-B88E-4765-8F84-0875F02EAA9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21144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8">
            <a:extLst>
              <a:ext uri="{FF2B5EF4-FFF2-40B4-BE49-F238E27FC236}">
                <a16:creationId xmlns:a16="http://schemas.microsoft.com/office/drawing/2014/main" id="{BEA719FD-82D1-4B7F-A1BF-7436A38B98A5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333786" y="0"/>
            <a:ext cx="2858215" cy="6858000"/>
          </a:xfrm>
          <a:custGeom>
            <a:avLst/>
            <a:gdLst>
              <a:gd name="connsiteX0" fmla="*/ 939648 w 2858215"/>
              <a:gd name="connsiteY0" fmla="*/ 0 h 6858000"/>
              <a:gd name="connsiteX1" fmla="*/ 2858215 w 2858215"/>
              <a:gd name="connsiteY1" fmla="*/ 0 h 6858000"/>
              <a:gd name="connsiteX2" fmla="*/ 2858215 w 2858215"/>
              <a:gd name="connsiteY2" fmla="*/ 6858000 h 6858000"/>
              <a:gd name="connsiteX3" fmla="*/ 0 w 28582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939648" y="0"/>
                </a:moveTo>
                <a:lnTo>
                  <a:pt x="2858215" y="0"/>
                </a:lnTo>
                <a:lnTo>
                  <a:pt x="28582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972000" tIns="72000" rIns="144000" bIns="0" anchor="t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/>
            </a:pPr>
            <a:r>
              <a:rPr lang="en-GB" dirty="0"/>
              <a:t>Click the placeholder, and go to images in the Templafy pane to insert a runner image. The image will adjust automatically to the placeholder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/>
          <a:p>
            <a:pPr lvl="0"/>
            <a:r>
              <a:rPr lang="en-GB" dirty="0" smtClean="0"/>
              <a:t>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smtClean="0"/>
              <a:t>Edit Master text styles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7EC7B58-64C1-4AD6-A491-F9F62F708A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dsholder til dato 2" hidden="1">
            <a:extLst>
              <a:ext uri="{FF2B5EF4-FFF2-40B4-BE49-F238E27FC236}">
                <a16:creationId xmlns:a16="http://schemas.microsoft.com/office/drawing/2014/main" id="{BCD85F1B-D67C-488F-97B6-EF5FF0E1D4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 hidden="1">
            <a:extLst>
              <a:ext uri="{FF2B5EF4-FFF2-40B4-BE49-F238E27FC236}">
                <a16:creationId xmlns:a16="http://schemas.microsoft.com/office/drawing/2014/main" id="{926E1EE3-3440-49FC-9693-6229C75F362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29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D110D9-B423-43A6-8AAB-099BD6CE1D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5F28387E-8623-42BF-9B48-27D2B5227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B619AF34-19F2-41BF-89B1-3022A3AA20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ladsholder til sidefod 6" hidden="1">
            <a:extLst>
              <a:ext uri="{FF2B5EF4-FFF2-40B4-BE49-F238E27FC236}">
                <a16:creationId xmlns:a16="http://schemas.microsoft.com/office/drawing/2014/main" id="{02D33EA0-2461-4853-AF2B-FBF0DF89D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4F57314-C5B8-4EEB-85D3-70E901432A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40750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>
            <a:extLst>
              <a:ext uri="{FF2B5EF4-FFF2-40B4-BE49-F238E27FC236}">
                <a16:creationId xmlns:a16="http://schemas.microsoft.com/office/drawing/2014/main" id="{03A091A9-CC1B-48F7-BC9E-2F43F9854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dsholder til sidefod 5" hidden="1">
            <a:extLst>
              <a:ext uri="{FF2B5EF4-FFF2-40B4-BE49-F238E27FC236}">
                <a16:creationId xmlns:a16="http://schemas.microsoft.com/office/drawing/2014/main" id="{8168D80C-0805-4D30-8E04-DE7D3C3D7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Pladsholder til billede 18">
            <a:extLst>
              <a:ext uri="{FF2B5EF4-FFF2-40B4-BE49-F238E27FC236}">
                <a16:creationId xmlns:a16="http://schemas.microsoft.com/office/drawing/2014/main" id="{BA3F11E9-E0CA-4053-965A-48B837725C0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333786" y="0"/>
            <a:ext cx="2858215" cy="6858000"/>
          </a:xfrm>
          <a:custGeom>
            <a:avLst/>
            <a:gdLst>
              <a:gd name="connsiteX0" fmla="*/ 939648 w 2858215"/>
              <a:gd name="connsiteY0" fmla="*/ 0 h 6858000"/>
              <a:gd name="connsiteX1" fmla="*/ 2858215 w 2858215"/>
              <a:gd name="connsiteY1" fmla="*/ 0 h 6858000"/>
              <a:gd name="connsiteX2" fmla="*/ 2858215 w 2858215"/>
              <a:gd name="connsiteY2" fmla="*/ 6858000 h 6858000"/>
              <a:gd name="connsiteX3" fmla="*/ 0 w 28582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939648" y="0"/>
                </a:moveTo>
                <a:lnTo>
                  <a:pt x="2858215" y="0"/>
                </a:lnTo>
                <a:lnTo>
                  <a:pt x="28582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972000" tIns="72000" rIns="144000" bIns="0" anchor="t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/>
            </a:pPr>
            <a:r>
              <a:rPr lang="en-GB" dirty="0"/>
              <a:t>Click the placeholder, and go to images in the Templafy pane to insert a runner image. The image will adjust automatically to the placeholder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E454EF-3B17-4BA9-B134-543E0AFFF87D}"/>
              </a:ext>
            </a:extLst>
          </p:cNvPr>
          <p:cNvSpPr txBox="1"/>
          <p:nvPr userDrawn="1"/>
        </p:nvSpPr>
        <p:spPr>
          <a:xfrm>
            <a:off x="720000" y="574535"/>
            <a:ext cx="520587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3600" dirty="0" smtClean="0"/>
              <a:t>Agenda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5073973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86EA685-3F4D-496E-8652-21D82920D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ladsholder til dato 4" hidden="1">
            <a:extLst>
              <a:ext uri="{FF2B5EF4-FFF2-40B4-BE49-F238E27FC236}">
                <a16:creationId xmlns:a16="http://schemas.microsoft.com/office/drawing/2014/main" id="{03A091A9-CC1B-48F7-BC9E-2F43F9854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dsholder til sidefod 5" hidden="1">
            <a:extLst>
              <a:ext uri="{FF2B5EF4-FFF2-40B4-BE49-F238E27FC236}">
                <a16:creationId xmlns:a16="http://schemas.microsoft.com/office/drawing/2014/main" id="{8168D80C-0805-4D30-8E04-DE7D3C3D75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1ED8572-9934-4253-804A-5F1AC7D919F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dirty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5785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Pladsholder til dato 2" hidden="1">
            <a:extLst>
              <a:ext uri="{FF2B5EF4-FFF2-40B4-BE49-F238E27FC236}">
                <a16:creationId xmlns:a16="http://schemas.microsoft.com/office/drawing/2014/main" id="{6EF26397-E878-4260-B9BE-32543C01BA0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Pladsholder til sidefod 8" hidden="1">
            <a:extLst>
              <a:ext uri="{FF2B5EF4-FFF2-40B4-BE49-F238E27FC236}">
                <a16:creationId xmlns:a16="http://schemas.microsoft.com/office/drawing/2014/main" id="{16147CBE-770F-48DA-BDED-C9F45EB9D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Pladsholder til slidenummer 8" hidden="1">
            <a:extLst>
              <a:ext uri="{FF2B5EF4-FFF2-40B4-BE49-F238E27FC236}">
                <a16:creationId xmlns:a16="http://schemas.microsoft.com/office/drawing/2014/main" id="{2E45038D-BAB9-4DB5-AFF3-26D356F012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30B3C842-99D2-497F-BAD5-26F146B7E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079" y="6004474"/>
            <a:ext cx="1715842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7305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Pladsholder til dato 2" hidden="1">
            <a:extLst>
              <a:ext uri="{FF2B5EF4-FFF2-40B4-BE49-F238E27FC236}">
                <a16:creationId xmlns:a16="http://schemas.microsoft.com/office/drawing/2014/main" id="{F533124A-8889-4B6D-94A9-6460BCA8CB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5" name="Pladsholder til sidefod 8" hidden="1">
            <a:extLst>
              <a:ext uri="{FF2B5EF4-FFF2-40B4-BE49-F238E27FC236}">
                <a16:creationId xmlns:a16="http://schemas.microsoft.com/office/drawing/2014/main" id="{76AC0C8C-0159-49B9-90D9-C62BE8FDC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Pladsholder til slidenummer 8" hidden="1">
            <a:extLst>
              <a:ext uri="{FF2B5EF4-FFF2-40B4-BE49-F238E27FC236}">
                <a16:creationId xmlns:a16="http://schemas.microsoft.com/office/drawing/2014/main" id="{C1C328CB-4870-4BC3-8845-D2DB8832937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A61566A5-690F-4566-A27C-D0A90DCAE9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8079" y="6004474"/>
            <a:ext cx="1715842" cy="6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344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782828" y="1806575"/>
            <a:ext cx="2340000" cy="4129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right Templafy pane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. 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 copied picture</a:t>
            </a:r>
            <a:endParaRPr lang="en-GB" altLang="da-DK" sz="900" noProof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ing of guides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719138" y="720000"/>
            <a:ext cx="1092993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 dirty="0"/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728015" y="1806575"/>
            <a:ext cx="2412000" cy="435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sert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a New Slide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1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ayout</a:t>
            </a:r>
            <a:b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o view a dropdown menu of possible </a:t>
            </a:r>
            <a:b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lide layouts</a:t>
            </a:r>
            <a:endParaRPr lang="en-GB" sz="900" noProof="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2. </a:t>
            </a: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ll be applied to the new slide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956800" y="1806575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46164" y="2675687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79558" y="3480236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75548" y="4430777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46164" y="5789605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7041205" y="2950946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7085943" y="3925367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7085355" y="1847179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93191" y="2960915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293191" y="3877831"/>
            <a:ext cx="359695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722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2" y="1893600"/>
            <a:ext cx="10396800" cy="428537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4"/>
          <p:cNvSpPr>
            <a:spLocks noGrp="1"/>
          </p:cNvSpPr>
          <p:nvPr>
            <p:ph type="sldNum" sz="quarter" idx="17"/>
          </p:nvPr>
        </p:nvSpPr>
        <p:spPr>
          <a:xfrm>
            <a:off x="1292352" y="6091139"/>
            <a:ext cx="711200" cy="365125"/>
          </a:xfrm>
        </p:spPr>
        <p:txBody>
          <a:bodyPr lIns="0"/>
          <a:lstStyle>
            <a:lvl1pPr algn="l">
              <a:defRPr/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Plassholder for tekst 11"/>
          <p:cNvSpPr>
            <a:spLocks noGrp="1"/>
          </p:cNvSpPr>
          <p:nvPr>
            <p:ph type="body" sz="quarter" idx="19" hasCustomPrompt="1"/>
          </p:nvPr>
        </p:nvSpPr>
        <p:spPr>
          <a:xfrm>
            <a:off x="2235200" y="1476000"/>
            <a:ext cx="8505952" cy="4411464"/>
          </a:xfrm>
        </p:spPr>
        <p:txBody>
          <a:bodyPr lIns="0" tIns="244800" rIns="0" bIns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900"/>
              </a:spcAft>
              <a:buClr>
                <a:srgbClr val="6CB33F"/>
              </a:buClr>
              <a:buSzTx/>
              <a:buFontTx/>
              <a:buNone/>
              <a:tabLst/>
              <a:defRPr sz="2000" baseline="0"/>
            </a:lvl1pPr>
          </a:lstStyle>
          <a:p>
            <a:pPr lvl="0"/>
            <a:r>
              <a:rPr lang="en-GB" dirty="0" smtClean="0"/>
              <a:t>Punkt1</a:t>
            </a:r>
          </a:p>
        </p:txBody>
      </p:sp>
      <p:sp>
        <p:nvSpPr>
          <p:cNvPr id="14" name="Tittel 1"/>
          <p:cNvSpPr>
            <a:spLocks noGrp="1"/>
          </p:cNvSpPr>
          <p:nvPr>
            <p:ph type="ctrTitle"/>
          </p:nvPr>
        </p:nvSpPr>
        <p:spPr>
          <a:xfrm>
            <a:off x="1293312" y="711668"/>
            <a:ext cx="9451200" cy="608400"/>
          </a:xfrm>
          <a:prstGeom prst="rect">
            <a:avLst/>
          </a:prstGeom>
        </p:spPr>
        <p:txBody>
          <a:bodyPr lIns="0" anchor="ctr" anchorCtr="0">
            <a:noAutofit/>
          </a:bodyPr>
          <a:lstStyle>
            <a:lvl1pPr algn="l">
              <a:defRPr sz="340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8" name="Plassholder for tekst 11"/>
          <p:cNvSpPr>
            <a:spLocks noGrp="1"/>
          </p:cNvSpPr>
          <p:nvPr>
            <p:ph type="body" sz="quarter" idx="20" hasCustomPrompt="1"/>
          </p:nvPr>
        </p:nvSpPr>
        <p:spPr>
          <a:xfrm>
            <a:off x="1292352" y="1464519"/>
            <a:ext cx="711200" cy="4411464"/>
          </a:xfrm>
        </p:spPr>
        <p:txBody>
          <a:bodyPr lIns="0" tIns="10800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rgbClr val="6CB33F"/>
              </a:buClr>
              <a:buSzTx/>
              <a:buFontTx/>
              <a:buNone/>
              <a:tabLst/>
              <a:defRPr sz="3200" baseline="0">
                <a:solidFill>
                  <a:srgbClr val="6CB33F"/>
                </a:solidFill>
              </a:defRPr>
            </a:lvl1pPr>
          </a:lstStyle>
          <a:p>
            <a:pPr lvl="0"/>
            <a:r>
              <a:rPr lang="en-GB" dirty="0" smtClean="0"/>
              <a:t>#</a:t>
            </a:r>
          </a:p>
        </p:txBody>
      </p:sp>
      <p:pic>
        <p:nvPicPr>
          <p:cNvPr id="10" name="Picture 9" descr="I:\Frode\Logoer\wiersholm_logo_gronn.emf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05" y="6012001"/>
            <a:ext cx="1852507" cy="503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4926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5"/>
          </p:nvPr>
        </p:nvSpPr>
        <p:spPr>
          <a:xfrm>
            <a:off x="914400" y="2971800"/>
            <a:ext cx="4876800" cy="2743202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5" name="Content Placeholder 13"/>
          <p:cNvSpPr>
            <a:spLocks noGrp="1"/>
          </p:cNvSpPr>
          <p:nvPr>
            <p:ph sz="quarter" idx="16"/>
          </p:nvPr>
        </p:nvSpPr>
        <p:spPr>
          <a:xfrm>
            <a:off x="6400800" y="2971800"/>
            <a:ext cx="4876800" cy="2743202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36" name="Text Placeholder 2"/>
          <p:cNvSpPr>
            <a:spLocks noGrp="1"/>
          </p:cNvSpPr>
          <p:nvPr>
            <p:ph type="body" idx="28"/>
          </p:nvPr>
        </p:nvSpPr>
        <p:spPr>
          <a:xfrm>
            <a:off x="914400" y="691051"/>
            <a:ext cx="10363200" cy="451948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700" b="0">
                <a:solidFill>
                  <a:schemeClr val="accent3"/>
                </a:solidFill>
                <a:latin typeface="Franklin Gothic Demi Cond" panose="020B07060304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0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914400" y="6589187"/>
            <a:ext cx="6705600" cy="123111"/>
          </a:xfrm>
        </p:spPr>
        <p:txBody>
          <a:bodyPr anchor="b">
            <a:spAutoFit/>
          </a:bodyPr>
          <a:lstStyle>
            <a:lvl1pPr marL="0" indent="0">
              <a:buNone/>
              <a:defRPr sz="800" baseline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4290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lysbildenummer 4"/>
          <p:cNvSpPr>
            <a:spLocks noGrp="1"/>
          </p:cNvSpPr>
          <p:nvPr>
            <p:ph type="sldNum" sz="quarter" idx="17"/>
          </p:nvPr>
        </p:nvSpPr>
        <p:spPr>
          <a:xfrm>
            <a:off x="1292352" y="6091139"/>
            <a:ext cx="711200" cy="365125"/>
          </a:xfrm>
        </p:spPr>
        <p:txBody>
          <a:bodyPr lIns="0"/>
          <a:lstStyle>
            <a:lvl1pPr algn="l">
              <a:defRPr/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ittel 1"/>
          <p:cNvSpPr>
            <a:spLocks noGrp="1"/>
          </p:cNvSpPr>
          <p:nvPr>
            <p:ph type="ctrTitle"/>
          </p:nvPr>
        </p:nvSpPr>
        <p:spPr>
          <a:xfrm>
            <a:off x="1292352" y="720000"/>
            <a:ext cx="9883648" cy="608400"/>
          </a:xfrm>
          <a:prstGeom prst="rect">
            <a:avLst/>
          </a:prstGeom>
        </p:spPr>
        <p:txBody>
          <a:bodyPr lIns="0" anchor="ctr" anchorCtr="0">
            <a:normAutofit/>
          </a:bodyPr>
          <a:lstStyle>
            <a:lvl1pPr algn="l">
              <a:defRPr sz="3600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pic>
        <p:nvPicPr>
          <p:cNvPr id="6" name="Picture 5" descr="I:\Frode\Logoer\wiersholm_logo_gronn.emf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05" y="6012001"/>
            <a:ext cx="1852507" cy="503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1273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log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I:\Frode\Logoer\wiersholm_logo_gronn.emf"/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4405" y="6012001"/>
            <a:ext cx="1852507" cy="5035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5557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sz="quarter" idx="14"/>
          </p:nvPr>
        </p:nvSpPr>
        <p:spPr>
          <a:xfrm>
            <a:off x="508000" y="6248400"/>
            <a:ext cx="11176000" cy="3810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4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1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pic>
        <p:nvPicPr>
          <p:cNvPr id="1027" name="Picture 3" descr="I:\Frode\Logoer\wiersholm_logo_hvit.emf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830" y="5136486"/>
            <a:ext cx="3036645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919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E84B47-918C-AB44-9187-856D41EEE1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967605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">
            <a:extLst>
              <a:ext uri="{FF2B5EF4-FFF2-40B4-BE49-F238E27FC236}">
                <a16:creationId xmlns:a16="http://schemas.microsoft.com/office/drawing/2014/main" id="{B8877287-5F9B-4BAE-9D1D-2ACF195163FA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DBB8F26-51CE-4DA4-8A81-26F70ABBCB6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1430000" cy="6861600"/>
          </a:xfrm>
          <a:noFill/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A2C0E719-2FE9-4DDC-85FB-462607FE96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2"/>
            <a:ext cx="10398125" cy="792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tx2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Place and date e.g. 05.09.2019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Rektangel green">
            <a:extLst>
              <a:ext uri="{FF2B5EF4-FFF2-40B4-BE49-F238E27FC236}">
                <a16:creationId xmlns:a16="http://schemas.microsoft.com/office/drawing/2014/main" id="{07105EC6-BDF8-4CA6-BC1A-66BC8CAB16E2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Rektangel dark green">
            <a:extLst>
              <a:ext uri="{FF2B5EF4-FFF2-40B4-BE49-F238E27FC236}">
                <a16:creationId xmlns:a16="http://schemas.microsoft.com/office/drawing/2014/main" id="{04C8762C-3DA5-4AC5-843F-62621B9E9F0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</p:spTree>
    <p:extLst>
      <p:ext uri="{BB962C8B-B14F-4D97-AF65-F5344CB8AC3E}">
        <p14:creationId xmlns:p14="http://schemas.microsoft.com/office/powerpoint/2010/main" val="235431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white">
            <a:extLst>
              <a:ext uri="{FF2B5EF4-FFF2-40B4-BE49-F238E27FC236}">
                <a16:creationId xmlns:a16="http://schemas.microsoft.com/office/drawing/2014/main" id="{B2C6478D-A4B2-4C40-8C24-93A50435F7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85" noProof="0" dirty="0" err="1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EEA8104-DA24-4CF5-BC37-AB4E5295CD2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blipFill>
            <a:blip r:embed="rId2"/>
            <a:stretch>
              <a:fillRect/>
            </a:stretch>
          </a:blipFill>
        </p:spPr>
        <p:txBody>
          <a:bodyPr lIns="144000" tIns="108000"/>
          <a:lstStyle>
            <a:lvl1pPr marL="0" indent="0" algn="l">
              <a:buNone/>
              <a:defRPr sz="1600"/>
            </a:lvl1pPr>
          </a:lstStyle>
          <a:p>
            <a:r>
              <a:rPr lang="en-GB" dirty="0"/>
              <a:t>Click the placeholder, and go to images in the Templafy pane to insert an image. The image will adjust automatically to the placeholder</a:t>
            </a:r>
          </a:p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3425" y="1144742"/>
            <a:ext cx="10398125" cy="1060767"/>
          </a:xfrm>
        </p:spPr>
        <p:txBody>
          <a:bodyPr anchor="b"/>
          <a:lstStyle>
            <a:lvl1pPr algn="l"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33425" y="2409033"/>
            <a:ext cx="10398125" cy="791368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F8858A0-7BAC-408A-85AD-3A59C0AF57D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3425" y="6232527"/>
            <a:ext cx="7200000" cy="309561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Place and date e.g. 05.06.2019</a:t>
            </a:r>
          </a:p>
        </p:txBody>
      </p:sp>
      <p:sp>
        <p:nvSpPr>
          <p:cNvPr id="5" name="Text Placeholder logo">
            <a:extLst>
              <a:ext uri="{FF2B5EF4-FFF2-40B4-BE49-F238E27FC236}">
                <a16:creationId xmlns:a16="http://schemas.microsoft.com/office/drawing/2014/main" id="{482372E2-DC37-41F0-9153-66B7272D28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50350" y="5923694"/>
            <a:ext cx="1681200" cy="6192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Footer Placeholder 4" hidden="1">
            <a:extLst>
              <a:ext uri="{FF2B5EF4-FFF2-40B4-BE49-F238E27FC236}">
                <a16:creationId xmlns:a16="http://schemas.microsoft.com/office/drawing/2014/main" id="{E76A8764-6622-431F-9A0B-10F788E407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F273FEDB-49DC-4781-9ECF-E7FD7C6A04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A043C76A-35D6-4052-B041-83AA6423CA8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67979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00A0C9-C66C-4C37-85AB-4AB7079E9F6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34711" y="1310615"/>
            <a:ext cx="761289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dirty="0" smtClean="0"/>
              <a:t>01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A113463-01E8-441B-8116-EDD41B0D6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20678" y="1310615"/>
            <a:ext cx="4910872" cy="4297362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2400"/>
              </a:spcAft>
              <a:buNone/>
              <a:defRPr sz="2000">
                <a:solidFill>
                  <a:schemeClr val="bg1"/>
                </a:solidFill>
              </a:defRPr>
            </a:lvl1pPr>
            <a:lvl2pPr marL="180000" indent="0">
              <a:buNone/>
              <a:defRPr sz="2000">
                <a:solidFill>
                  <a:srgbClr val="FF0000"/>
                </a:solidFill>
              </a:defRPr>
            </a:lvl2pPr>
            <a:lvl3pPr marL="180000" indent="0">
              <a:buNone/>
              <a:defRPr sz="2000">
                <a:solidFill>
                  <a:srgbClr val="FF0000"/>
                </a:solidFill>
              </a:defRPr>
            </a:lvl3pPr>
            <a:lvl4pPr>
              <a:buNone/>
              <a:defRPr sz="2000">
                <a:solidFill>
                  <a:srgbClr val="FF0000"/>
                </a:solidFill>
              </a:defRPr>
            </a:lvl4pPr>
            <a:lvl5pPr>
              <a:buNone/>
              <a:defRPr sz="2000">
                <a:solidFill>
                  <a:srgbClr val="FF0000"/>
                </a:solidFill>
              </a:defRPr>
            </a:lvl5pPr>
          </a:lstStyle>
          <a:p>
            <a:pPr lvl="0"/>
            <a:r>
              <a:rPr lang="en-GB" noProof="0" dirty="0" smtClean="0"/>
              <a:t>Click to edit Master text styles</a:t>
            </a:r>
            <a:r>
              <a:rPr lang="en-GB" dirty="0" smtClean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19009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080868-ECCE-4A50-9CC9-55F5F3AD63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AFCBD021-CE79-4851-AA00-7763AC7DFC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4BB8F8D5-DB63-404E-B446-F1DEA8289F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CCB5E4-EEF8-4244-BB4F-2EC5A5734E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3820" y="1959835"/>
            <a:ext cx="6392498" cy="1177200"/>
          </a:xfrm>
        </p:spPr>
        <p:txBody>
          <a:bodyPr anchor="t" anchorCtr="0"/>
          <a:lstStyle>
            <a:lvl1pPr algn="l">
              <a:lnSpc>
                <a:spcPct val="99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29504989-647B-4BA0-A416-40731C2CE42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8890" y="1653357"/>
            <a:ext cx="1501626" cy="1176191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7200">
                <a:solidFill>
                  <a:schemeClr val="accent3"/>
                </a:solidFill>
              </a:defRPr>
            </a:lvl1pPr>
            <a:lvl2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38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tabLst/>
              <a:defRPr sz="138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69798106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08">
          <p15:clr>
            <a:srgbClr val="FBAE40"/>
          </p15:clr>
        </p15:guide>
        <p15:guide id="2" pos="141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110D0C-3705-4B45-AC95-17F0ACD5A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5184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2" y="1893600"/>
            <a:ext cx="10396800" cy="4285371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847936"/>
      </p:ext>
    </p:extLst>
  </p:cSld>
  <p:clrMapOvr>
    <a:masterClrMapping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110D0C-3705-4B45-AC95-17F0ACD5A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3342419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3775" y="0"/>
            <a:ext cx="5356938" cy="6858000"/>
          </a:xfrm>
        </p:spPr>
        <p:txBody>
          <a:bodyPr lIns="180000" tIns="1224000" rIns="18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96005E4-93AC-45EE-B7FC-203D6AB2A63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A72B91-BF31-47AE-8746-797EF09936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077BA4-F24B-48FF-8803-E2D0662A22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2789061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4F39CDB-6E52-4F93-ABE7-3C7400B8F223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6073288" y="365760"/>
            <a:ext cx="5058000" cy="1303973"/>
          </a:xfrm>
        </p:spPr>
        <p:txBody>
          <a:bodyPr anchor="ctr" anchorCtr="0"/>
          <a:lstStyle>
            <a:lvl1pPr marL="0" indent="0" algn="l">
              <a:lnSpc>
                <a:spcPct val="98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en-US" sz="3600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0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55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3450500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550" y="365760"/>
            <a:ext cx="5058000" cy="5812789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598"/>
            <a:ext cx="5058000" cy="4284952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087370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22776A68-AEEF-4730-A802-FE6B58A49F93}"/>
              </a:ext>
            </a:extLst>
          </p:cNvPr>
          <p:cNvSpPr/>
          <p:nvPr userDrawn="1"/>
        </p:nvSpPr>
        <p:spPr>
          <a:xfrm>
            <a:off x="5938838" y="0"/>
            <a:ext cx="6253161" cy="68616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1" name="Rektangel green">
            <a:extLst>
              <a:ext uri="{FF2B5EF4-FFF2-40B4-BE49-F238E27FC236}">
                <a16:creationId xmlns:a16="http://schemas.microsoft.com/office/drawing/2014/main" id="{0E19DF27-B461-41A5-91BF-C6038E067361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2" name="Rektangel dark green">
            <a:extLst>
              <a:ext uri="{FF2B5EF4-FFF2-40B4-BE49-F238E27FC236}">
                <a16:creationId xmlns:a16="http://schemas.microsoft.com/office/drawing/2014/main" id="{E577D14C-0173-46F0-8E2E-64BEC7970AA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775" y="365761"/>
            <a:ext cx="5057775" cy="5812126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887"/>
            <a:ext cx="5058000" cy="4284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6397741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812" y="2252300"/>
            <a:ext cx="5058000" cy="392625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D69204-9278-4D12-9F2B-DE23656C63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013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43C506C-5441-4EB9-A448-7B85EFF71D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73812" y="1892300"/>
            <a:ext cx="5058000" cy="360000"/>
          </a:xfrm>
        </p:spPr>
        <p:txBody>
          <a:bodyPr anchor="ctr" anchorCtr="0"/>
          <a:lstStyle>
            <a:lvl1pPr marL="0" indent="0">
              <a:buNone/>
              <a:defRPr sz="1800" b="1"/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93017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3827">
          <p15:clr>
            <a:srgbClr val="FBAE40"/>
          </p15:clr>
        </p15:guide>
        <p15:guide id="2" pos="3649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16196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97382" y="1893178"/>
            <a:ext cx="3240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651248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4973">
          <p15:clr>
            <a:srgbClr val="FBAE40"/>
          </p15:clr>
        </p15:guide>
        <p15:guide id="2" pos="4761">
          <p15:clr>
            <a:srgbClr val="FBAE40"/>
          </p15:clr>
        </p15:guide>
        <p15:guide id="3" pos="2715">
          <p15:clr>
            <a:srgbClr val="FBAE40"/>
          </p15:clr>
        </p15:guide>
        <p15:guide id="4" pos="25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2" y="365760"/>
            <a:ext cx="1040237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3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10469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E35933A3-3BFC-4166-AE41-F7F3C03C8D5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85925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4F662463-307C-45A0-8B6E-0873A9A71C9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761382" y="1893178"/>
            <a:ext cx="2376000" cy="4284000"/>
          </a:xfrm>
        </p:spPr>
        <p:txBody>
          <a:bodyPr/>
          <a:lstStyle>
            <a:lvl4pPr marL="252000" indent="-252000">
              <a:buClr>
                <a:schemeClr val="bg2"/>
              </a:buClr>
              <a:buFont typeface="Arial" panose="020B0604020202020204" pitchFamily="34" charset="0"/>
              <a:buChar char="•"/>
              <a:defRPr sz="1400"/>
            </a:lvl4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471556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>
        <p15:guide id="1" pos="5517">
          <p15:clr>
            <a:srgbClr val="FBAE40"/>
          </p15:clr>
        </p15:guide>
        <p15:guide id="2" pos="5330">
          <p15:clr>
            <a:srgbClr val="FBAE40"/>
          </p15:clr>
        </p15:guide>
        <p15:guide id="3" pos="3827">
          <p15:clr>
            <a:srgbClr val="FBAE40"/>
          </p15:clr>
        </p15:guide>
        <p15:guide id="4" pos="3646">
          <p15:clr>
            <a:srgbClr val="FBAE40"/>
          </p15:clr>
        </p15:guide>
        <p15:guide id="5" pos="2146">
          <p15:clr>
            <a:srgbClr val="FBAE40"/>
          </p15:clr>
        </p15:guide>
        <p15:guide id="6" pos="19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0" name="Picture Placeholder 3">
            <a:extLst>
              <a:ext uri="{FF2B5EF4-FFF2-40B4-BE49-F238E27FC236}">
                <a16:creationId xmlns:a16="http://schemas.microsoft.com/office/drawing/2014/main" id="{913F5AC5-D709-45BD-A706-8F3A48A0278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7870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1" name="Picture Placeholder 3">
            <a:extLst>
              <a:ext uri="{FF2B5EF4-FFF2-40B4-BE49-F238E27FC236}">
                <a16:creationId xmlns:a16="http://schemas.microsoft.com/office/drawing/2014/main" id="{B6491E3A-E297-48E9-9CBF-6A1149EDCF7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339394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2" name="Picture Placeholder 3">
            <a:extLst>
              <a:ext uri="{FF2B5EF4-FFF2-40B4-BE49-F238E27FC236}">
                <a16:creationId xmlns:a16="http://schemas.microsoft.com/office/drawing/2014/main" id="{A97DC24F-E132-4E99-B1E5-18B8C16CB11B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5944653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53" name="Picture Placeholder 3">
            <a:extLst>
              <a:ext uri="{FF2B5EF4-FFF2-40B4-BE49-F238E27FC236}">
                <a16:creationId xmlns:a16="http://schemas.microsoft.com/office/drawing/2014/main" id="{D5DD641E-601A-4024-8F9C-E2480B50E74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565542" y="1896002"/>
            <a:ext cx="1152000" cy="1188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4185225D-B7B6-4135-A528-D9E082387FC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7870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1BDA27CD-3501-42B7-A4C4-751C440499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7870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914B21AE-7E0D-4531-80F9-97CE84DC3A2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7870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FFB1F37B-0C31-43FA-8FD0-97AB95D7781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37870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8DFD173E-9E1F-4263-BEE4-44B7A3CC87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339394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DCDDFB0D-C2ED-4FB5-A0D7-6BA57409AAC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339394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A148D81A-CB2B-4D16-A0C4-5FF28AA29F93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39394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49788E7A-94E1-41F0-8307-E9A58C0BE78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339394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D9E49EC0-5588-4238-ACE2-C932D36AFA2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944653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BF0E74F2-FA85-4EC4-ADBF-B7E3A3CA0F2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944653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BC92028E-2970-4107-B9CC-04D67FFD40F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944653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5A245984-8F5E-41C9-8CF6-8BB28DFA262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944653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03FC57F0-D9E4-4FFC-AFDA-EC75A9685FF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5542" y="3269999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66C8C1AB-0441-42D4-8F79-0BDF47646AC0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5542" y="38292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27D66AA1-E34D-40AF-9252-530771F6F31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565542" y="39816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535F3CEE-F8DF-4F64-ACB7-BDB17C39F1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565542" y="4134058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F2B9F30-5054-4E45-B112-AD0258A9EDD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3501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EB3757E2-9A36-4529-A195-D4340A58545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339394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450EE70E-10AC-4FA1-AAB7-277427ADC264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5944653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C20FFCE0-6186-4992-939E-E879CA7F088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8565542" y="4646168"/>
            <a:ext cx="2023050" cy="1381125"/>
          </a:xfrm>
        </p:spPr>
        <p:txBody>
          <a:bodyPr/>
          <a:lstStyle>
            <a:lvl1pPr marL="0" indent="0">
              <a:buFontTx/>
              <a:buNone/>
              <a:defRPr lang="en-GB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560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5011" y="1893600"/>
            <a:ext cx="5058000" cy="4284000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73775" y="0"/>
            <a:ext cx="5356938" cy="6858000"/>
          </a:xfrm>
        </p:spPr>
        <p:txBody>
          <a:bodyPr lIns="180000" tIns="1224000" rIns="180000" anchor="ctr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/>
              <a:t>Click the placeholder, and go to images in the Templafy pane to insert an image. The image will adjust automatically to the placeholder</a:t>
            </a: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96005E4-93AC-45EE-B7FC-203D6AB2A63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CA72B91-BF31-47AE-8746-797EF09936B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E077BA4-F24B-48FF-8803-E2D0662A222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7906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etup mult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C7E1F-CF7C-47B1-816E-8D2990CFF9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E29149-3902-42F1-870A-276BC7A13AD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35311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11" name="Pladsholder til tekst 10">
            <a:extLst>
              <a:ext uri="{FF2B5EF4-FFF2-40B4-BE49-F238E27FC236}">
                <a16:creationId xmlns:a16="http://schemas.microsoft.com/office/drawing/2014/main" id="{D241C3B9-5AD6-4B93-952D-49B1B4140D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35311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22" name="Pladsholder til tekst 10">
            <a:extLst>
              <a:ext uri="{FF2B5EF4-FFF2-40B4-BE49-F238E27FC236}">
                <a16:creationId xmlns:a16="http://schemas.microsoft.com/office/drawing/2014/main" id="{26DCF766-5098-4888-8430-85073B8343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35311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B1840713-CECD-4D22-96B4-8945D9F4CF8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14827" y="1884047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BB16EF6E-FBD9-45EA-BD6D-447CCEBCC9D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7164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4F478B86-DB2D-4B3E-8DA6-30620912896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68072" y="1893821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EB4C39E-F4BE-4564-BD85-11455D43630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135311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B0E0438-747E-473A-B972-A3494852F34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3614827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38" name="Picture Placeholder 3">
            <a:extLst>
              <a:ext uri="{FF2B5EF4-FFF2-40B4-BE49-F238E27FC236}">
                <a16:creationId xmlns:a16="http://schemas.microsoft.com/office/drawing/2014/main" id="{32F0C5F6-E777-4BA6-92BF-D1ED3ABFCE8E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097164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37CEF7E1-CB7D-4757-92C3-CDBE3E6113BA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568072" y="4125329"/>
            <a:ext cx="900000" cy="9000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 to insert an image.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AB9BF98-B8A2-4D87-9BAB-6AAA98A8DCA5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6FC3FCE-7A6F-4BE5-8106-11583296C2F4}"/>
              </a:ext>
            </a:extLst>
          </p:cNvPr>
          <p:cNvSpPr>
            <a:spLocks noGrp="1"/>
          </p:cNvSpPr>
          <p:nvPr>
            <p:ph type="sldNum" sz="quarter" idx="40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6F57AA6F-423D-4CD5-BCCD-E17FBEB432D4}"/>
              </a:ext>
            </a:extLst>
          </p:cNvPr>
          <p:cNvSpPr>
            <a:spLocks noGrp="1"/>
          </p:cNvSpPr>
          <p:nvPr>
            <p:ph type="dt" sz="half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4" name="Pladsholder til tekst 10">
            <a:extLst>
              <a:ext uri="{FF2B5EF4-FFF2-40B4-BE49-F238E27FC236}">
                <a16:creationId xmlns:a16="http://schemas.microsoft.com/office/drawing/2014/main" id="{B126FC31-18C4-486F-AB95-0CA86E492AF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135311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5" name="Pladsholder til tekst 10">
            <a:extLst>
              <a:ext uri="{FF2B5EF4-FFF2-40B4-BE49-F238E27FC236}">
                <a16:creationId xmlns:a16="http://schemas.microsoft.com/office/drawing/2014/main" id="{366971B2-2756-4926-AA5E-B19410F6F66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35311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46" name="Pladsholder til tekst 10">
            <a:extLst>
              <a:ext uri="{FF2B5EF4-FFF2-40B4-BE49-F238E27FC236}">
                <a16:creationId xmlns:a16="http://schemas.microsoft.com/office/drawing/2014/main" id="{E81A9805-1F78-4DEF-8C63-6DBF755FEC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14827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47" name="Pladsholder til tekst 10">
            <a:extLst>
              <a:ext uri="{FF2B5EF4-FFF2-40B4-BE49-F238E27FC236}">
                <a16:creationId xmlns:a16="http://schemas.microsoft.com/office/drawing/2014/main" id="{4BC20E61-C766-4BC0-97A9-93C695B52EC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14827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48" name="Pladsholder til tekst 10">
            <a:extLst>
              <a:ext uri="{FF2B5EF4-FFF2-40B4-BE49-F238E27FC236}">
                <a16:creationId xmlns:a16="http://schemas.microsoft.com/office/drawing/2014/main" id="{E9780EB6-79A7-4A9D-9F28-2BA1D0A3BE0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614827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49" name="Pladsholder til tekst 10">
            <a:extLst>
              <a:ext uri="{FF2B5EF4-FFF2-40B4-BE49-F238E27FC236}">
                <a16:creationId xmlns:a16="http://schemas.microsoft.com/office/drawing/2014/main" id="{6965CD96-B91C-46D7-B352-002ABE85FE4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14827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0" name="Pladsholder til tekst 10">
            <a:extLst>
              <a:ext uri="{FF2B5EF4-FFF2-40B4-BE49-F238E27FC236}">
                <a16:creationId xmlns:a16="http://schemas.microsoft.com/office/drawing/2014/main" id="{500B62DC-F9ED-46DF-BBE3-6BA3CF1EBBB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097164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1" name="Pladsholder til tekst 10">
            <a:extLst>
              <a:ext uri="{FF2B5EF4-FFF2-40B4-BE49-F238E27FC236}">
                <a16:creationId xmlns:a16="http://schemas.microsoft.com/office/drawing/2014/main" id="{89D77EE9-0C6B-4F22-A688-B251EC367860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097164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2" name="Pladsholder til tekst 10">
            <a:extLst>
              <a:ext uri="{FF2B5EF4-FFF2-40B4-BE49-F238E27FC236}">
                <a16:creationId xmlns:a16="http://schemas.microsoft.com/office/drawing/2014/main" id="{55301594-B401-42C2-9A15-CBA9FB4F2A09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097164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3" name="Pladsholder til tekst 10">
            <a:extLst>
              <a:ext uri="{FF2B5EF4-FFF2-40B4-BE49-F238E27FC236}">
                <a16:creationId xmlns:a16="http://schemas.microsoft.com/office/drawing/2014/main" id="{626A94EC-17E2-4065-A166-109981F3287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097164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4" name="Pladsholder til tekst 10">
            <a:extLst>
              <a:ext uri="{FF2B5EF4-FFF2-40B4-BE49-F238E27FC236}">
                <a16:creationId xmlns:a16="http://schemas.microsoft.com/office/drawing/2014/main" id="{F34F30B1-6F93-4411-A3CC-3CEB463B072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568072" y="2955563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5" name="Pladsholder til tekst 10">
            <a:extLst>
              <a:ext uri="{FF2B5EF4-FFF2-40B4-BE49-F238E27FC236}">
                <a16:creationId xmlns:a16="http://schemas.microsoft.com/office/drawing/2014/main" id="{8E8DE5A3-496F-4E14-B1E7-7C3911A65D38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8568072" y="35148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56" name="Pladsholder til tekst 10">
            <a:extLst>
              <a:ext uri="{FF2B5EF4-FFF2-40B4-BE49-F238E27FC236}">
                <a16:creationId xmlns:a16="http://schemas.microsoft.com/office/drawing/2014/main" id="{00D2D09E-9CD9-4BCF-8592-793EFB3E968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568072" y="36672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57" name="Pladsholder til tekst 10">
            <a:extLst>
              <a:ext uri="{FF2B5EF4-FFF2-40B4-BE49-F238E27FC236}">
                <a16:creationId xmlns:a16="http://schemas.microsoft.com/office/drawing/2014/main" id="{B1E25204-4903-4E2B-9FFF-4983E12A348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568072" y="3819622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58" name="Pladsholder til tekst 10">
            <a:extLst>
              <a:ext uri="{FF2B5EF4-FFF2-40B4-BE49-F238E27FC236}">
                <a16:creationId xmlns:a16="http://schemas.microsoft.com/office/drawing/2014/main" id="{C695425D-CF15-4573-B3AC-D577E591ECD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135311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59" name="Pladsholder til tekst 10">
            <a:extLst>
              <a:ext uri="{FF2B5EF4-FFF2-40B4-BE49-F238E27FC236}">
                <a16:creationId xmlns:a16="http://schemas.microsoft.com/office/drawing/2014/main" id="{E51A13BA-E109-47E4-BB29-0A5BB3A97C4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35311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0" name="Pladsholder til tekst 10">
            <a:extLst>
              <a:ext uri="{FF2B5EF4-FFF2-40B4-BE49-F238E27FC236}">
                <a16:creationId xmlns:a16="http://schemas.microsoft.com/office/drawing/2014/main" id="{75715D88-109E-49A3-A3B8-C3620824C77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135311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1" name="Pladsholder til tekst 10">
            <a:extLst>
              <a:ext uri="{FF2B5EF4-FFF2-40B4-BE49-F238E27FC236}">
                <a16:creationId xmlns:a16="http://schemas.microsoft.com/office/drawing/2014/main" id="{2A0B1168-EBA2-418C-9602-3CE505C88827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35311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2" name="Pladsholder til tekst 10">
            <a:extLst>
              <a:ext uri="{FF2B5EF4-FFF2-40B4-BE49-F238E27FC236}">
                <a16:creationId xmlns:a16="http://schemas.microsoft.com/office/drawing/2014/main" id="{B4B4E88D-9545-4B48-91B3-730F8BDB63A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14827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3" name="Pladsholder til tekst 10">
            <a:extLst>
              <a:ext uri="{FF2B5EF4-FFF2-40B4-BE49-F238E27FC236}">
                <a16:creationId xmlns:a16="http://schemas.microsoft.com/office/drawing/2014/main" id="{7BF4D617-CE98-4D1E-A0CB-FF0352CB2DDF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614827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4" name="Pladsholder til tekst 10">
            <a:extLst>
              <a:ext uri="{FF2B5EF4-FFF2-40B4-BE49-F238E27FC236}">
                <a16:creationId xmlns:a16="http://schemas.microsoft.com/office/drawing/2014/main" id="{39E1D4F9-A925-4BD6-B741-2A2F24FEE84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614827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5" name="Pladsholder til tekst 10">
            <a:extLst>
              <a:ext uri="{FF2B5EF4-FFF2-40B4-BE49-F238E27FC236}">
                <a16:creationId xmlns:a16="http://schemas.microsoft.com/office/drawing/2014/main" id="{80DDB5B9-EFEA-4EF6-9352-100F8FA83E6E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14827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66" name="Pladsholder til tekst 10">
            <a:extLst>
              <a:ext uri="{FF2B5EF4-FFF2-40B4-BE49-F238E27FC236}">
                <a16:creationId xmlns:a16="http://schemas.microsoft.com/office/drawing/2014/main" id="{985E4140-F8AC-473E-B6F0-538FFDC7C87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097164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67" name="Pladsholder til tekst 10">
            <a:extLst>
              <a:ext uri="{FF2B5EF4-FFF2-40B4-BE49-F238E27FC236}">
                <a16:creationId xmlns:a16="http://schemas.microsoft.com/office/drawing/2014/main" id="{1DD2A5B6-0886-4D15-9143-9B5DE1B7410E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097164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68" name="Pladsholder til tekst 10">
            <a:extLst>
              <a:ext uri="{FF2B5EF4-FFF2-40B4-BE49-F238E27FC236}">
                <a16:creationId xmlns:a16="http://schemas.microsoft.com/office/drawing/2014/main" id="{3DD614D7-30B2-42B0-B11F-3CF5D24CC2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097164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69" name="Pladsholder til tekst 10">
            <a:extLst>
              <a:ext uri="{FF2B5EF4-FFF2-40B4-BE49-F238E27FC236}">
                <a16:creationId xmlns:a16="http://schemas.microsoft.com/office/drawing/2014/main" id="{35B9E924-85AA-4A62-9BF6-B6781295F34E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6097164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  <p:sp>
        <p:nvSpPr>
          <p:cNvPr id="70" name="Pladsholder til tekst 10">
            <a:extLst>
              <a:ext uri="{FF2B5EF4-FFF2-40B4-BE49-F238E27FC236}">
                <a16:creationId xmlns:a16="http://schemas.microsoft.com/office/drawing/2014/main" id="{B4F1EF7C-5F9D-44D2-A011-53CF8B895CD2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8568072" y="5193594"/>
            <a:ext cx="2020192" cy="504000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71" name="Pladsholder til tekst 10">
            <a:extLst>
              <a:ext uri="{FF2B5EF4-FFF2-40B4-BE49-F238E27FC236}">
                <a16:creationId xmlns:a16="http://schemas.microsoft.com/office/drawing/2014/main" id="{B56695BB-073D-418B-BB49-2EA31C26DE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568072" y="57528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72" name="Pladsholder til tekst 10">
            <a:extLst>
              <a:ext uri="{FF2B5EF4-FFF2-40B4-BE49-F238E27FC236}">
                <a16:creationId xmlns:a16="http://schemas.microsoft.com/office/drawing/2014/main" id="{8DCCBF9A-8A72-41C0-89D7-5D90AD59A76D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568072" y="59052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73" name="Pladsholder til tekst 10">
            <a:extLst>
              <a:ext uri="{FF2B5EF4-FFF2-40B4-BE49-F238E27FC236}">
                <a16:creationId xmlns:a16="http://schemas.microsoft.com/office/drawing/2014/main" id="{02697809-560F-417A-9B7E-FBDE1E8AF5F7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568072" y="6057653"/>
            <a:ext cx="2020192" cy="122059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 remember M:</a:t>
            </a:r>
          </a:p>
        </p:txBody>
      </p:sp>
    </p:spTree>
    <p:extLst>
      <p:ext uri="{BB962C8B-B14F-4D97-AF65-F5344CB8AC3E}">
        <p14:creationId xmlns:p14="http://schemas.microsoft.com/office/powerpoint/2010/main" val="7036800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24B17F4-758C-4396-B266-27C151BBFD37}"/>
              </a:ext>
            </a:extLst>
          </p:cNvPr>
          <p:cNvSpPr/>
          <p:nvPr userDrawn="1"/>
        </p:nvSpPr>
        <p:spPr>
          <a:xfrm>
            <a:off x="-1" y="0"/>
            <a:ext cx="5241303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1000" noProof="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DFEC46-4C10-42A4-AC67-3583EE1A71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50D7653E-5742-41AD-8CA9-F47F3365F1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E2C1FAB2-A422-4F22-BEF7-FB9CF912CC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8845AA35-7716-4D15-8D84-83280DB9C1F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F5DD6DB-8616-49DB-BE16-35B925BBEEF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5012" y="1900500"/>
            <a:ext cx="1144800" cy="1144800"/>
          </a:xfrm>
          <a:prstGeom prst="ellipse">
            <a:avLst/>
          </a:prstGeom>
          <a:solidFill>
            <a:srgbClr val="F2F2F2"/>
          </a:solidFill>
        </p:spPr>
        <p:txBody>
          <a:bodyPr tIns="0" anchor="ctr" anchorCtr="0"/>
          <a:lstStyle>
            <a:lvl1pPr marL="0" indent="0" algn="ctr">
              <a:buNone/>
              <a:defRPr sz="800"/>
            </a:lvl1pPr>
          </a:lstStyle>
          <a:p>
            <a:r>
              <a:rPr lang="en-GB" noProof="0" dirty="0"/>
              <a:t>Click the placeholder, and go to images in the Templafy pane.</a:t>
            </a:r>
          </a:p>
        </p:txBody>
      </p:sp>
      <p:sp>
        <p:nvSpPr>
          <p:cNvPr id="7" name="Pladsholder til tekst 10">
            <a:extLst>
              <a:ext uri="{FF2B5EF4-FFF2-40B4-BE49-F238E27FC236}">
                <a16:creationId xmlns:a16="http://schemas.microsoft.com/office/drawing/2014/main" id="{34E5832F-E47D-471D-8E29-C9958C3912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32353" y="1900500"/>
            <a:ext cx="2700000" cy="288000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Name and surname</a:t>
            </a:r>
          </a:p>
        </p:txBody>
      </p:sp>
      <p:sp>
        <p:nvSpPr>
          <p:cNvPr id="8" name="Pladsholder til tekst 10">
            <a:extLst>
              <a:ext uri="{FF2B5EF4-FFF2-40B4-BE49-F238E27FC236}">
                <a16:creationId xmlns:a16="http://schemas.microsoft.com/office/drawing/2014/main" id="{946C13FE-CCA1-4E5B-8033-E3BCC6D77B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32353" y="2384187"/>
            <a:ext cx="2700000" cy="180000"/>
          </a:xfrm>
        </p:spPr>
        <p:txBody>
          <a:bodyPr/>
          <a:lstStyle>
            <a:lvl1pPr marL="0" indent="0">
              <a:buNone/>
              <a:defRPr sz="11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Title</a:t>
            </a:r>
          </a:p>
        </p:txBody>
      </p:sp>
      <p:sp>
        <p:nvSpPr>
          <p:cNvPr id="15" name="Pladsholder til tekst 10">
            <a:extLst>
              <a:ext uri="{FF2B5EF4-FFF2-40B4-BE49-F238E27FC236}">
                <a16:creationId xmlns:a16="http://schemas.microsoft.com/office/drawing/2014/main" id="{1907A869-1E6F-46F8-8DAB-BE81A5F5C42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232353" y="2585018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Mobil</a:t>
            </a:r>
          </a:p>
        </p:txBody>
      </p:sp>
      <p:sp>
        <p:nvSpPr>
          <p:cNvPr id="16" name="Pladsholder til tekst 10">
            <a:extLst>
              <a:ext uri="{FF2B5EF4-FFF2-40B4-BE49-F238E27FC236}">
                <a16:creationId xmlns:a16="http://schemas.microsoft.com/office/drawing/2014/main" id="{77DDAAC7-2C6A-4C41-A650-5986A132AEF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32353" y="2785849"/>
            <a:ext cx="2700000" cy="180000"/>
          </a:xfrm>
        </p:spPr>
        <p:txBody>
          <a:bodyPr/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/>
              <a:t>Insert e-mail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437F6921-5F7F-4B15-90B6-B775262A25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012" y="3428999"/>
            <a:ext cx="4197341" cy="2757105"/>
          </a:xfrm>
        </p:spPr>
        <p:txBody>
          <a:bodyPr/>
          <a:lstStyle>
            <a:lvl1pPr marL="144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tabLst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70BB922A-361B-4C7E-AD6E-57329D72652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05513" y="1892300"/>
            <a:ext cx="5126037" cy="4286250"/>
          </a:xfrm>
        </p:spPr>
        <p:txBody>
          <a:bodyPr/>
          <a:lstStyle>
            <a:lvl1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1pPr>
            <a:lvl2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100" b="1">
                <a:solidFill>
                  <a:schemeClr val="accent3"/>
                </a:solidFill>
              </a:defRPr>
            </a:lvl2pPr>
            <a:lvl3pPr marL="288000" indent="-144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-"/>
              <a:defRPr sz="1000"/>
            </a:lvl3pPr>
            <a:lvl4pPr marL="28800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4pPr>
            <a:lvl5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5pPr>
            <a:lvl6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6pPr>
            <a:lvl7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>
                <a:solidFill>
                  <a:schemeClr val="tx1"/>
                </a:solidFill>
              </a:defRPr>
            </a:lvl7pPr>
            <a:lvl8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defRPr sz="1000"/>
            </a:lvl8pPr>
            <a:lvl9pPr marL="0" indent="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16001615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dark green">
            <a:extLst>
              <a:ext uri="{FF2B5EF4-FFF2-40B4-BE49-F238E27FC236}">
                <a16:creationId xmlns:a16="http://schemas.microsoft.com/office/drawing/2014/main" id="{2C51A538-FCCF-4C59-BD87-D3EB1C3D3B84}"/>
              </a:ext>
            </a:extLst>
          </p:cNvPr>
          <p:cNvSpPr/>
          <p:nvPr userDrawn="1"/>
        </p:nvSpPr>
        <p:spPr>
          <a:xfrm flipV="1">
            <a:off x="733424" y="5296332"/>
            <a:ext cx="11458267" cy="15616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4" name="Rektangel green">
            <a:extLst>
              <a:ext uri="{FF2B5EF4-FFF2-40B4-BE49-F238E27FC236}">
                <a16:creationId xmlns:a16="http://schemas.microsoft.com/office/drawing/2014/main" id="{12818191-2B9E-47B5-AD32-54EF77FE4413}"/>
              </a:ext>
            </a:extLst>
          </p:cNvPr>
          <p:cNvSpPr/>
          <p:nvPr userDrawn="1"/>
        </p:nvSpPr>
        <p:spPr>
          <a:xfrm flipV="1">
            <a:off x="733425" y="-1"/>
            <a:ext cx="11458575" cy="53352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2199" y="1380478"/>
            <a:ext cx="5808825" cy="2393054"/>
          </a:xfrm>
        </p:spPr>
        <p:txBody>
          <a:bodyPr anchor="t" anchorCtr="0"/>
          <a:lstStyle>
            <a:lvl1pPr algn="l">
              <a:lnSpc>
                <a:spcPct val="9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  <a:endParaRPr lang="en-GB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CCED638-3E73-4356-926B-F19BAF7AC3EE}"/>
              </a:ext>
            </a:extLst>
          </p:cNvPr>
          <p:cNvSpPr/>
          <p:nvPr userDrawn="1"/>
        </p:nvSpPr>
        <p:spPr>
          <a:xfrm>
            <a:off x="1502199" y="6155587"/>
            <a:ext cx="6153509" cy="18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l"/>
            <a:r>
              <a:rPr lang="en-GB" sz="2000" kern="1200" spc="-20" baseline="0" noProof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wiersholm.no</a:t>
            </a:r>
          </a:p>
        </p:txBody>
      </p:sp>
      <p:pic>
        <p:nvPicPr>
          <p:cNvPr id="12" name="Logo">
            <a:extLst>
              <a:ext uri="{FF2B5EF4-FFF2-40B4-BE49-F238E27FC236}">
                <a16:creationId xmlns:a16="http://schemas.microsoft.com/office/drawing/2014/main" id="{1C36ED33-D882-4A16-A1E1-33BF51AF10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24240" y="5838447"/>
            <a:ext cx="1654488" cy="610944"/>
          </a:xfrm>
          <a:prstGeom prst="rect">
            <a:avLst/>
          </a:prstGeom>
        </p:spPr>
      </p:pic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99042081-3232-47E9-8878-3FF523BF3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r>
              <a:rPr lang="en-GB" dirty="0"/>
              <a:t>Strictly confidential and subject to legal privilege</a:t>
            </a:r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CB183117-3F34-490E-9E15-700734C033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876165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B6D3B40-5920-431B-978B-3A46F8385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56AD3DF-DEBF-40DA-9B6C-DF020456CB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24FC3914-32B0-466E-9F35-C3975446C1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57082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59CD73-C4D9-49D9-9949-028FD0AF4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80B32F-8A7F-481B-9B25-882A97B55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60037483-AFA7-4CD1-92B2-EE68F3BFF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4973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 16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ckground">
            <a:extLst>
              <a:ext uri="{FF2B5EF4-FFF2-40B4-BE49-F238E27FC236}">
                <a16:creationId xmlns:a16="http://schemas.microsoft.com/office/drawing/2014/main" id="{489255C3-A654-47C2-868B-B7EBFDC415E5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7D4876D-2452-4B30-B5D3-F981831D48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426" y="960120"/>
            <a:ext cx="3653304" cy="1705914"/>
          </a:xfrm>
        </p:spPr>
        <p:txBody>
          <a:bodyPr anchor="t" anchorCtr="0"/>
          <a:lstStyle>
            <a:lvl1pPr>
              <a:defRPr sz="5000" spc="100" baseline="0">
                <a:solidFill>
                  <a:schemeClr val="accent3"/>
                </a:solidFill>
              </a:defRPr>
            </a:lvl1pPr>
          </a:lstStyle>
          <a:p>
            <a:r>
              <a:rPr lang="en-GB" noProof="0" dirty="0"/>
              <a:t>Insert Agenda</a:t>
            </a:r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E282C9A4-6D9D-424F-91C8-ED68A09C8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 hidden="1">
            <a:extLst>
              <a:ext uri="{FF2B5EF4-FFF2-40B4-BE49-F238E27FC236}">
                <a16:creationId xmlns:a16="http://schemas.microsoft.com/office/drawing/2014/main" id="{90C136E3-665D-47F9-93A3-5791CEC08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Date Placeholder 3" hidden="1">
            <a:extLst>
              <a:ext uri="{FF2B5EF4-FFF2-40B4-BE49-F238E27FC236}">
                <a16:creationId xmlns:a16="http://schemas.microsoft.com/office/drawing/2014/main" id="{5E601BF9-D2C8-45F1-9D17-DC6DECED55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73383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67579" y="1608016"/>
            <a:ext cx="2786833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TUR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he Templafy pane</a:t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the right side of the screen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lides with pictureplaceholder, click on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d to Back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041497" y="1775872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sp>
        <p:nvSpPr>
          <p:cNvPr id="42" name="Text Box 2">
            <a:extLst>
              <a:ext uri="{FF2B5EF4-FFF2-40B4-BE49-F238E27FC236}">
                <a16:creationId xmlns:a16="http://schemas.microsoft.com/office/drawing/2014/main" id="{00AD0EBC-0A41-4B26-9D79-79E0C00BBA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53928" y="1613646"/>
            <a:ext cx="2280360" cy="48936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STYLES</a:t>
            </a:r>
            <a:endParaRPr lang="en-GB" altLang="da-DK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bullet button to reaply the correct bullet ag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LAYOUTS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layo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view a dropdown menu of possible slide layouts</a:t>
            </a: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>
            <a:extLst>
              <a:ext uri="{FF2B5EF4-FFF2-40B4-BE49-F238E27FC236}">
                <a16:creationId xmlns:a16="http://schemas.microsoft.com/office/drawing/2014/main" id="{7082C8DC-C092-4676-B834-847B1F28585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073807" y="3322850"/>
            <a:ext cx="257143" cy="285714"/>
          </a:xfrm>
          <a:prstGeom prst="rect">
            <a:avLst/>
          </a:prstGeom>
        </p:spPr>
      </p:pic>
      <p:pic>
        <p:nvPicPr>
          <p:cNvPr id="46" name="Picture 29">
            <a:extLst>
              <a:ext uri="{FF2B5EF4-FFF2-40B4-BE49-F238E27FC236}">
                <a16:creationId xmlns:a16="http://schemas.microsoft.com/office/drawing/2014/main" id="{6B35B93D-CCEE-48AF-A769-8729CC05BE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74348" y="2599667"/>
            <a:ext cx="457143" cy="257143"/>
          </a:xfrm>
          <a:prstGeom prst="rect">
            <a:avLst/>
          </a:prstGeom>
        </p:spPr>
      </p:pic>
      <p:pic>
        <p:nvPicPr>
          <p:cNvPr id="51" name="Picture 33">
            <a:extLst>
              <a:ext uri="{FF2B5EF4-FFF2-40B4-BE49-F238E27FC236}">
                <a16:creationId xmlns:a16="http://schemas.microsoft.com/office/drawing/2014/main" id="{939F9DAB-8633-4819-950D-F5E391BF77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901" t="45142" r="62601" b="9046"/>
          <a:stretch/>
        </p:blipFill>
        <p:spPr>
          <a:xfrm>
            <a:off x="7041497" y="3118826"/>
            <a:ext cx="341204" cy="321707"/>
          </a:xfrm>
          <a:prstGeom prst="rect">
            <a:avLst/>
          </a:prstGeom>
        </p:spPr>
      </p:pic>
      <p:pic>
        <p:nvPicPr>
          <p:cNvPr id="55" name="Picture 16">
            <a:extLst>
              <a:ext uri="{FF2B5EF4-FFF2-40B4-BE49-F238E27FC236}">
                <a16:creationId xmlns:a16="http://schemas.microsoft.com/office/drawing/2014/main" id="{A13B127D-1BE4-4C8F-96F6-59C8D10D8F4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80229" y="4313402"/>
            <a:ext cx="328881" cy="505501"/>
          </a:xfrm>
          <a:prstGeom prst="rect">
            <a:avLst/>
          </a:prstGeom>
        </p:spPr>
      </p:pic>
      <p:pic>
        <p:nvPicPr>
          <p:cNvPr id="56" name="Picture 20">
            <a:extLst>
              <a:ext uri="{FF2B5EF4-FFF2-40B4-BE49-F238E27FC236}">
                <a16:creationId xmlns:a16="http://schemas.microsoft.com/office/drawing/2014/main" id="{5730DD9A-26F6-4C14-AE7D-221D2B3F38D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80229" y="5641555"/>
            <a:ext cx="538465" cy="17284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097518" y="3881432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729773" y="1608016"/>
            <a:ext cx="2358243" cy="344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er and Footer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f only used on one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DLINES</a:t>
            </a:r>
            <a:endParaRPr lang="en-GB" sz="1100" b="1" noProof="1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quick view of guides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 &amp; TRICKS - YOUR USER GUIDE</a:t>
            </a:r>
          </a:p>
        </p:txBody>
      </p:sp>
      <p:pic>
        <p:nvPicPr>
          <p:cNvPr id="66" name="Picture 2" descr="C:\Users\MAV~1.SKA\AppData\Local\Temp\SNAGHTMLe48c1e.PNG">
            <a:extLst>
              <a:ext uri="{FF2B5EF4-FFF2-40B4-BE49-F238E27FC236}">
                <a16:creationId xmlns:a16="http://schemas.microsoft.com/office/drawing/2014/main" id="{DAC63350-5850-40BB-87A2-CE01481E05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9773" y="506111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D83AD9C-98AE-450E-B202-15860002D52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080228" y="5077014"/>
            <a:ext cx="475428" cy="17676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D650EE5-068B-445A-B67F-781A28851CE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8553" y="1909678"/>
            <a:ext cx="622072" cy="173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03624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r>
              <a:rPr lang="en-GB" sz="4400" b="0" i="0" noProof="0" dirty="0">
                <a:solidFill>
                  <a:schemeClr val="bg1"/>
                </a:solidFill>
              </a:rPr>
              <a:t/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r>
              <a:rPr lang="en-GB" sz="2800" b="0" noProof="0" dirty="0">
                <a:solidFill>
                  <a:schemeClr val="bg1"/>
                </a:solidFill>
              </a:rPr>
              <a:t/>
            </a: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r>
              <a:rPr lang="en-GB" sz="1800" b="0" noProof="0" dirty="0">
                <a:solidFill>
                  <a:schemeClr val="bg1"/>
                </a:solidFill>
              </a:rPr>
              <a:t/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79563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aggrund">
            <a:extLst>
              <a:ext uri="{FF2B5EF4-FFF2-40B4-BE49-F238E27FC236}">
                <a16:creationId xmlns:a16="http://schemas.microsoft.com/office/drawing/2014/main" id="{EC618CB3-04BA-4401-812E-63C28B44F1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Billedepladsholder">
            <a:extLst>
              <a:ext uri="{FF2B5EF4-FFF2-40B4-BE49-F238E27FC236}">
                <a16:creationId xmlns:a16="http://schemas.microsoft.com/office/drawing/2014/main" id="{6EDC60C6-0A52-4842-A54D-CED822B393A1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2192000" cy="4571398"/>
          </a:xfrm>
          <a:custGeom>
            <a:avLst/>
            <a:gdLst>
              <a:gd name="connsiteX0" fmla="*/ 12191999 w 12192000"/>
              <a:gd name="connsiteY0" fmla="*/ 4185916 h 4571398"/>
              <a:gd name="connsiteX1" fmla="*/ 12192000 w 12192000"/>
              <a:gd name="connsiteY1" fmla="*/ 4185916 h 4571398"/>
              <a:gd name="connsiteX2" fmla="*/ 12192000 w 12192000"/>
              <a:gd name="connsiteY2" fmla="*/ 4571398 h 4571398"/>
              <a:gd name="connsiteX3" fmla="*/ 12191999 w 12192000"/>
              <a:gd name="connsiteY3" fmla="*/ 4571398 h 4571398"/>
              <a:gd name="connsiteX4" fmla="*/ 0 w 12192000"/>
              <a:gd name="connsiteY4" fmla="*/ 0 h 4571398"/>
              <a:gd name="connsiteX5" fmla="*/ 12192000 w 12192000"/>
              <a:gd name="connsiteY5" fmla="*/ 0 h 4571398"/>
              <a:gd name="connsiteX6" fmla="*/ 12192000 w 12192000"/>
              <a:gd name="connsiteY6" fmla="*/ 3429001 h 4571398"/>
              <a:gd name="connsiteX7" fmla="*/ 17 w 12192000"/>
              <a:gd name="connsiteY7" fmla="*/ 4185915 h 4571398"/>
              <a:gd name="connsiteX8" fmla="*/ 0 w 12192000"/>
              <a:gd name="connsiteY8" fmla="*/ 4185915 h 4571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571398">
                <a:moveTo>
                  <a:pt x="12191999" y="4185916"/>
                </a:moveTo>
                <a:lnTo>
                  <a:pt x="12192000" y="4185916"/>
                </a:lnTo>
                <a:lnTo>
                  <a:pt x="12192000" y="4571398"/>
                </a:lnTo>
                <a:lnTo>
                  <a:pt x="12191999" y="457139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n image. The image will adjust automatically to the placeholder</a:t>
            </a:r>
            <a:endParaRPr lang="en-GB" dirty="0"/>
          </a:p>
        </p:txBody>
      </p:sp>
      <p:sp>
        <p:nvSpPr>
          <p:cNvPr id="17" name="Farvet trekant">
            <a:extLst>
              <a:ext uri="{FF2B5EF4-FFF2-40B4-BE49-F238E27FC236}">
                <a16:creationId xmlns:a16="http://schemas.microsoft.com/office/drawing/2014/main" id="{4AD748CB-8298-4444-ACC2-651F4224033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3417571"/>
            <a:ext cx="12192001" cy="3428999"/>
          </a:xfrm>
          <a:custGeom>
            <a:avLst/>
            <a:gdLst>
              <a:gd name="connsiteX0" fmla="*/ 12192001 w 12192001"/>
              <a:gd name="connsiteY0" fmla="*/ 0 h 3428999"/>
              <a:gd name="connsiteX1" fmla="*/ 12192001 w 12192001"/>
              <a:gd name="connsiteY1" fmla="*/ 756915 h 3428999"/>
              <a:gd name="connsiteX2" fmla="*/ 12191999 w 12192001"/>
              <a:gd name="connsiteY2" fmla="*/ 756915 h 3428999"/>
              <a:gd name="connsiteX3" fmla="*/ 12191999 w 12192001"/>
              <a:gd name="connsiteY3" fmla="*/ 3428999 h 3428999"/>
              <a:gd name="connsiteX4" fmla="*/ 0 w 12192001"/>
              <a:gd name="connsiteY4" fmla="*/ 3428999 h 3428999"/>
              <a:gd name="connsiteX5" fmla="*/ 0 w 12192001"/>
              <a:gd name="connsiteY5" fmla="*/ 756914 h 3428999"/>
              <a:gd name="connsiteX6" fmla="*/ 17 w 12192001"/>
              <a:gd name="connsiteY6" fmla="*/ 756914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3428999">
                <a:moveTo>
                  <a:pt x="12192001" y="0"/>
                </a:moveTo>
                <a:lnTo>
                  <a:pt x="12192001" y="756915"/>
                </a:lnTo>
                <a:lnTo>
                  <a:pt x="12191999" y="756915"/>
                </a:lnTo>
                <a:lnTo>
                  <a:pt x="12191999" y="3428999"/>
                </a:lnTo>
                <a:lnTo>
                  <a:pt x="0" y="3428999"/>
                </a:lnTo>
                <a:lnTo>
                  <a:pt x="0" y="756914"/>
                </a:lnTo>
                <a:lnTo>
                  <a:pt x="17" y="756914"/>
                </a:lnTo>
                <a:close/>
              </a:path>
            </a:pathLst>
          </a:custGeom>
          <a:solidFill>
            <a:srgbClr val="1F323F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/heading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 smtClean="0"/>
              <a:t>Responsible partner/lawyer</a:t>
            </a:r>
            <a:endParaRPr lang="en-GB" dirty="0"/>
          </a:p>
        </p:txBody>
      </p:sp>
      <p:sp>
        <p:nvSpPr>
          <p:cNvPr id="12" name="Pladsholder til tekst 3">
            <a:extLst>
              <a:ext uri="{FF2B5EF4-FFF2-40B4-BE49-F238E27FC236}">
                <a16:creationId xmlns:a16="http://schemas.microsoft.com/office/drawing/2014/main" id="{B44EC84B-806C-4B07-86DD-028339B789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Place and date</a:t>
            </a:r>
            <a:endParaRPr lang="en-GB" dirty="0"/>
          </a:p>
        </p:txBody>
      </p:sp>
      <p:sp>
        <p:nvSpPr>
          <p:cNvPr id="14" name="Logo Placeholder 9">
            <a:extLst>
              <a:ext uri="{FF2B5EF4-FFF2-40B4-BE49-F238E27FC236}">
                <a16:creationId xmlns:a16="http://schemas.microsoft.com/office/drawing/2014/main" id="{3AD81D36-987F-4D52-8D80-C1745AEED8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600" y="6332837"/>
            <a:ext cx="946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 smtClean="0"/>
              <a:t>. </a:t>
            </a:r>
            <a:endParaRPr lang="en-GB" noProof="0" dirty="0"/>
          </a:p>
        </p:txBody>
      </p:sp>
      <p:sp>
        <p:nvSpPr>
          <p:cNvPr id="7" name="Pladsholder til dato 6" hidden="1">
            <a:extLst>
              <a:ext uri="{FF2B5EF4-FFF2-40B4-BE49-F238E27FC236}">
                <a16:creationId xmlns:a16="http://schemas.microsoft.com/office/drawing/2014/main" id="{25256112-EFC5-4AB4-92D9-C6339E38848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65568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Pladsholder til sidefod 7" hidden="1">
            <a:extLst>
              <a:ext uri="{FF2B5EF4-FFF2-40B4-BE49-F238E27FC236}">
                <a16:creationId xmlns:a16="http://schemas.microsoft.com/office/drawing/2014/main" id="{96149DA1-F21E-4C47-86BC-C3BB5B6015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Pladsholder til slidenummer 8" hidden="1">
            <a:extLst>
              <a:ext uri="{FF2B5EF4-FFF2-40B4-BE49-F238E27FC236}">
                <a16:creationId xmlns:a16="http://schemas.microsoft.com/office/drawing/2014/main" id="{BC9F8801-F561-4DF2-9565-59B3DECD1A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63204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ggrund">
            <a:extLst>
              <a:ext uri="{FF2B5EF4-FFF2-40B4-BE49-F238E27FC236}">
                <a16:creationId xmlns:a16="http://schemas.microsoft.com/office/drawing/2014/main" id="{3A880CA5-BDB7-489E-8634-A5640F16A9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6" name="Billedepladsholder">
            <a:extLst>
              <a:ext uri="{FF2B5EF4-FFF2-40B4-BE49-F238E27FC236}">
                <a16:creationId xmlns:a16="http://schemas.microsoft.com/office/drawing/2014/main" id="{4835378B-5E44-4B8F-9E4B-00780A951C7F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0"/>
            <a:ext cx="12192000" cy="4571398"/>
          </a:xfrm>
          <a:custGeom>
            <a:avLst/>
            <a:gdLst>
              <a:gd name="connsiteX0" fmla="*/ 12191999 w 12192000"/>
              <a:gd name="connsiteY0" fmla="*/ 4185916 h 4571398"/>
              <a:gd name="connsiteX1" fmla="*/ 12192000 w 12192000"/>
              <a:gd name="connsiteY1" fmla="*/ 4185916 h 4571398"/>
              <a:gd name="connsiteX2" fmla="*/ 12192000 w 12192000"/>
              <a:gd name="connsiteY2" fmla="*/ 4571398 h 4571398"/>
              <a:gd name="connsiteX3" fmla="*/ 12191999 w 12192000"/>
              <a:gd name="connsiteY3" fmla="*/ 4571398 h 4571398"/>
              <a:gd name="connsiteX4" fmla="*/ 0 w 12192000"/>
              <a:gd name="connsiteY4" fmla="*/ 0 h 4571398"/>
              <a:gd name="connsiteX5" fmla="*/ 12192000 w 12192000"/>
              <a:gd name="connsiteY5" fmla="*/ 0 h 4571398"/>
              <a:gd name="connsiteX6" fmla="*/ 12192000 w 12192000"/>
              <a:gd name="connsiteY6" fmla="*/ 3429001 h 4571398"/>
              <a:gd name="connsiteX7" fmla="*/ 17 w 12192000"/>
              <a:gd name="connsiteY7" fmla="*/ 4185915 h 4571398"/>
              <a:gd name="connsiteX8" fmla="*/ 0 w 12192000"/>
              <a:gd name="connsiteY8" fmla="*/ 4185915 h 4571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4571398">
                <a:moveTo>
                  <a:pt x="12191999" y="4185916"/>
                </a:moveTo>
                <a:lnTo>
                  <a:pt x="12192000" y="4185916"/>
                </a:lnTo>
                <a:lnTo>
                  <a:pt x="12192000" y="4571398"/>
                </a:lnTo>
                <a:lnTo>
                  <a:pt x="12191999" y="457139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n image. The image will adjust automatically to the placeholder</a:t>
            </a:r>
            <a:endParaRPr lang="en-GB" dirty="0"/>
          </a:p>
        </p:txBody>
      </p:sp>
      <p:sp>
        <p:nvSpPr>
          <p:cNvPr id="17" name="Farvet trekant">
            <a:extLst>
              <a:ext uri="{FF2B5EF4-FFF2-40B4-BE49-F238E27FC236}">
                <a16:creationId xmlns:a16="http://schemas.microsoft.com/office/drawing/2014/main" id="{44076839-9959-4BD5-B29F-78C07912F3D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1" y="3417571"/>
            <a:ext cx="12192001" cy="3428999"/>
          </a:xfrm>
          <a:custGeom>
            <a:avLst/>
            <a:gdLst>
              <a:gd name="connsiteX0" fmla="*/ 12192001 w 12192001"/>
              <a:gd name="connsiteY0" fmla="*/ 0 h 3428999"/>
              <a:gd name="connsiteX1" fmla="*/ 12192001 w 12192001"/>
              <a:gd name="connsiteY1" fmla="*/ 756915 h 3428999"/>
              <a:gd name="connsiteX2" fmla="*/ 12191999 w 12192001"/>
              <a:gd name="connsiteY2" fmla="*/ 756915 h 3428999"/>
              <a:gd name="connsiteX3" fmla="*/ 12191999 w 12192001"/>
              <a:gd name="connsiteY3" fmla="*/ 3428999 h 3428999"/>
              <a:gd name="connsiteX4" fmla="*/ 0 w 12192001"/>
              <a:gd name="connsiteY4" fmla="*/ 3428999 h 3428999"/>
              <a:gd name="connsiteX5" fmla="*/ 0 w 12192001"/>
              <a:gd name="connsiteY5" fmla="*/ 756914 h 3428999"/>
              <a:gd name="connsiteX6" fmla="*/ 17 w 12192001"/>
              <a:gd name="connsiteY6" fmla="*/ 756914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1" h="3428999">
                <a:moveTo>
                  <a:pt x="12192001" y="0"/>
                </a:moveTo>
                <a:lnTo>
                  <a:pt x="12192001" y="756915"/>
                </a:lnTo>
                <a:lnTo>
                  <a:pt x="12191999" y="756915"/>
                </a:lnTo>
                <a:lnTo>
                  <a:pt x="12191999" y="3428999"/>
                </a:lnTo>
                <a:lnTo>
                  <a:pt x="0" y="3428999"/>
                </a:lnTo>
                <a:lnTo>
                  <a:pt x="0" y="756914"/>
                </a:lnTo>
                <a:lnTo>
                  <a:pt x="17" y="756914"/>
                </a:lnTo>
                <a:close/>
              </a:path>
            </a:pathLst>
          </a:custGeom>
          <a:solidFill>
            <a:srgbClr val="365A1F"/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/heading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 smtClean="0"/>
              <a:t>Responsible partner/lawyer</a:t>
            </a:r>
            <a:endParaRPr lang="en-GB" dirty="0"/>
          </a:p>
        </p:txBody>
      </p:sp>
      <p:sp>
        <p:nvSpPr>
          <p:cNvPr id="10" name="Pladsholder til tekst 3">
            <a:extLst>
              <a:ext uri="{FF2B5EF4-FFF2-40B4-BE49-F238E27FC236}">
                <a16:creationId xmlns:a16="http://schemas.microsoft.com/office/drawing/2014/main" id="{BA354F71-8FBB-4ACA-BDEF-ECD16B022C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Place and date</a:t>
            </a:r>
            <a:endParaRPr lang="en-GB" dirty="0"/>
          </a:p>
        </p:txBody>
      </p:sp>
      <p:sp>
        <p:nvSpPr>
          <p:cNvPr id="19" name="Logo Placeholder 9">
            <a:extLst>
              <a:ext uri="{FF2B5EF4-FFF2-40B4-BE49-F238E27FC236}">
                <a16:creationId xmlns:a16="http://schemas.microsoft.com/office/drawing/2014/main" id="{EE93BE7D-6461-49FC-BA03-17E8D036F1E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22600" y="6332837"/>
            <a:ext cx="946800" cy="3492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 smtClean="0"/>
              <a:t>. </a:t>
            </a:r>
            <a:endParaRPr lang="en-GB" noProof="0" dirty="0"/>
          </a:p>
        </p:txBody>
      </p:sp>
      <p:sp>
        <p:nvSpPr>
          <p:cNvPr id="14" name="Pladsholder til dato 6" hidden="1">
            <a:extLst>
              <a:ext uri="{FF2B5EF4-FFF2-40B4-BE49-F238E27FC236}">
                <a16:creationId xmlns:a16="http://schemas.microsoft.com/office/drawing/2014/main" id="{4A22CC8C-9FE1-4702-9D12-49BEED3A240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65568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8" name="Pladsholder til sidefod 7" hidden="1">
            <a:extLst>
              <a:ext uri="{FF2B5EF4-FFF2-40B4-BE49-F238E27FC236}">
                <a16:creationId xmlns:a16="http://schemas.microsoft.com/office/drawing/2014/main" id="{57297F2E-1E67-4DD1-9538-6E1EB3EBF6C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0" name="Pladsholder til slidenummer 8" hidden="1">
            <a:extLst>
              <a:ext uri="{FF2B5EF4-FFF2-40B4-BE49-F238E27FC236}">
                <a16:creationId xmlns:a16="http://schemas.microsoft.com/office/drawing/2014/main" id="{5BE1E299-DE59-4E97-8F08-8994A5BCC7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7899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C4F39CDB-6E52-4F93-ABE7-3C7400B8F223}"/>
              </a:ext>
            </a:extLst>
          </p:cNvPr>
          <p:cNvSpPr>
            <a:spLocks noGrp="1"/>
          </p:cNvSpPr>
          <p:nvPr>
            <p:ph type="subTitle" idx="14"/>
          </p:nvPr>
        </p:nvSpPr>
        <p:spPr>
          <a:xfrm>
            <a:off x="6073288" y="365760"/>
            <a:ext cx="5058000" cy="1303973"/>
          </a:xfrm>
        </p:spPr>
        <p:txBody>
          <a:bodyPr anchor="ctr" anchorCtr="0"/>
          <a:lstStyle>
            <a:lvl1pPr marL="0" indent="0" algn="l">
              <a:lnSpc>
                <a:spcPct val="98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lang="en-US" sz="3600" b="1" kern="1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buFont typeface="Arial" panose="020B0604020202020204" pitchFamily="34" charset="0"/>
              <a:buChar char="​"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440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2D9A52E4-613D-441B-9CAA-83CF1EEB850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73550" y="1893600"/>
            <a:ext cx="5058000" cy="42853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20481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EC618CB3-04BA-4401-812E-63C28B44F1C8}"/>
              </a:ext>
            </a:extLst>
          </p:cNvPr>
          <p:cNvSpPr/>
          <p:nvPr userDrawn="1"/>
        </p:nvSpPr>
        <p:spPr>
          <a:xfrm>
            <a:off x="0" y="0"/>
            <a:ext cx="12180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269BD295-9DC0-44C6-B9D1-F51BFD620B8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0" y="1"/>
            <a:ext cx="12192000" cy="4185915"/>
          </a:xfrm>
          <a:custGeom>
            <a:avLst/>
            <a:gdLst>
              <a:gd name="connsiteX0" fmla="*/ 0 w 12192000"/>
              <a:gd name="connsiteY0" fmla="*/ 0 h 4185915"/>
              <a:gd name="connsiteX1" fmla="*/ 12192000 w 12192000"/>
              <a:gd name="connsiteY1" fmla="*/ 0 h 4185915"/>
              <a:gd name="connsiteX2" fmla="*/ 12192000 w 12192000"/>
              <a:gd name="connsiteY2" fmla="*/ 3429001 h 4185915"/>
              <a:gd name="connsiteX3" fmla="*/ 17 w 12192000"/>
              <a:gd name="connsiteY3" fmla="*/ 4185915 h 4185915"/>
              <a:gd name="connsiteX4" fmla="*/ 0 w 12192000"/>
              <a:gd name="connsiteY4" fmla="*/ 4185915 h 41859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4185915">
                <a:moveTo>
                  <a:pt x="0" y="0"/>
                </a:moveTo>
                <a:lnTo>
                  <a:pt x="12192000" y="0"/>
                </a:lnTo>
                <a:lnTo>
                  <a:pt x="12192000" y="3429001"/>
                </a:lnTo>
                <a:lnTo>
                  <a:pt x="17" y="4185915"/>
                </a:lnTo>
                <a:lnTo>
                  <a:pt x="0" y="4185915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tIns="36000" anchor="t" anchorCtr="0">
            <a:no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n image. The image will adjust automatically to the placeholder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9138" y="4598845"/>
            <a:ext cx="10752138" cy="503716"/>
          </a:xfrm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Title/heading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9138" y="5175564"/>
            <a:ext cx="10752137" cy="316282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/>
            </a:lvl2pPr>
            <a:lvl3pPr marL="0" indent="0" algn="l">
              <a:buFont typeface="Arial" panose="020B0604020202020204" pitchFamily="34" charset="0"/>
              <a:buChar char="​"/>
              <a:defRPr sz="2000"/>
            </a:lvl3pPr>
            <a:lvl4pPr marL="0" indent="0" algn="l">
              <a:buFont typeface="Arial" panose="020B0604020202020204" pitchFamily="34" charset="0"/>
              <a:buChar char="​"/>
              <a:defRPr sz="2000"/>
            </a:lvl4pPr>
            <a:lvl5pPr marL="0" indent="0" algn="l">
              <a:buFont typeface="Arial" panose="020B0604020202020204" pitchFamily="34" charset="0"/>
              <a:buChar char="​"/>
              <a:defRPr sz="2000"/>
            </a:lvl5pPr>
            <a:lvl6pPr marL="0" indent="0" algn="l">
              <a:buFont typeface="Arial" panose="020B0604020202020204" pitchFamily="34" charset="0"/>
              <a:buChar char="​"/>
              <a:defRPr sz="2000"/>
            </a:lvl6pPr>
            <a:lvl7pPr marL="0" indent="0" algn="l">
              <a:buFont typeface="Arial" panose="020B0604020202020204" pitchFamily="34" charset="0"/>
              <a:buChar char="​"/>
              <a:defRPr sz="2000"/>
            </a:lvl7pPr>
            <a:lvl8pPr marL="0" indent="0" algn="l">
              <a:buFont typeface="Arial" panose="020B0604020202020204" pitchFamily="34" charset="0"/>
              <a:buChar char="​"/>
              <a:defRPr sz="2000"/>
            </a:lvl8pPr>
            <a:lvl9pPr marL="0" indent="0" algn="l"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GB" dirty="0" smtClean="0"/>
              <a:t>Responsible partner/lawyer</a:t>
            </a:r>
            <a:endParaRPr lang="en-GB" dirty="0"/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BBCCE309-CE82-4759-9FF2-E8FDDFA72B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00" y="5605200"/>
            <a:ext cx="10753200" cy="345600"/>
          </a:xfrm>
        </p:spPr>
        <p:txBody>
          <a:bodyPr anchor="b" anchorCtr="0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177800" indent="0">
              <a:buNone/>
              <a:defRPr>
                <a:solidFill>
                  <a:schemeClr val="bg1"/>
                </a:solidFill>
              </a:defRPr>
            </a:lvl2pPr>
            <a:lvl3pPr marL="355600" indent="0">
              <a:buNone/>
              <a:defRPr>
                <a:solidFill>
                  <a:schemeClr val="bg1"/>
                </a:solidFill>
              </a:defRPr>
            </a:lvl3pPr>
            <a:lvl4pPr>
              <a:buNone/>
              <a:defRPr>
                <a:solidFill>
                  <a:schemeClr val="bg1"/>
                </a:solidFill>
              </a:defRPr>
            </a:lvl4pPr>
            <a:lvl5pPr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Place and date</a:t>
            </a:r>
            <a:endParaRPr lang="en-GB" dirty="0"/>
          </a:p>
        </p:txBody>
      </p:sp>
      <p:pic>
        <p:nvPicPr>
          <p:cNvPr id="21" name="Logo">
            <a:extLst>
              <a:ext uri="{FF2B5EF4-FFF2-40B4-BE49-F238E27FC236}">
                <a16:creationId xmlns:a16="http://schemas.microsoft.com/office/drawing/2014/main" id="{F968D5E0-FDE4-4092-847F-D314EFE1D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4" cy="349200"/>
          </a:xfrm>
          <a:prstGeom prst="rect">
            <a:avLst/>
          </a:prstGeom>
        </p:spPr>
      </p:pic>
      <p:sp>
        <p:nvSpPr>
          <p:cNvPr id="11" name="Pladsholder til dato 6" hidden="1">
            <a:extLst>
              <a:ext uri="{FF2B5EF4-FFF2-40B4-BE49-F238E27FC236}">
                <a16:creationId xmlns:a16="http://schemas.microsoft.com/office/drawing/2014/main" id="{27659FF3-AFAA-4617-8C90-91D2B8674C1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65568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dsholder til sidefod 7" hidden="1">
            <a:extLst>
              <a:ext uri="{FF2B5EF4-FFF2-40B4-BE49-F238E27FC236}">
                <a16:creationId xmlns:a16="http://schemas.microsoft.com/office/drawing/2014/main" id="{CCCDD9E6-490C-4164-A9BA-66506076F1A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Pladsholder til slidenummer 8" hidden="1">
            <a:extLst>
              <a:ext uri="{FF2B5EF4-FFF2-40B4-BE49-F238E27FC236}">
                <a16:creationId xmlns:a16="http://schemas.microsoft.com/office/drawing/2014/main" id="{7356F21A-6156-451E-814C-59EFE077A1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873384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10752137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E011C-58E9-45B7-83BE-C2381418E72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20B8921F-C33F-468B-9CA7-03504B24578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D098B56-1B1B-454B-BCB7-A052AB83BA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433439"/>
      </p:ext>
    </p:extLst>
  </p:cSld>
  <p:clrMapOvr>
    <a:masterClrMapping/>
  </p:clrMapOvr>
  <p:hf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5195887" cy="43128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3A2AEE14-0556-44B2-ACD9-4B889A46062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76977" y="1776413"/>
            <a:ext cx="5195887" cy="4312800"/>
          </a:xfrm>
        </p:spPr>
        <p:txBody>
          <a:bodyPr/>
          <a:lstStyle>
            <a:lvl1pPr>
              <a:defRPr/>
            </a:lvl1pPr>
            <a:lvl2pPr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FB2679-6CA8-4F55-B84D-92145D6F21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9C80C18-05D3-4CA7-8608-3AAE8124F13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C9D1462-EAC8-4EAE-A0EA-55C57C7671C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0261730"/>
      </p:ext>
    </p:extLst>
  </p:cSld>
  <p:clrMapOvr>
    <a:masterClrMapping/>
  </p:clrMapOvr>
  <p:hf hdr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3345919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EDD653C-D30C-49C7-92C7-C9CFE6C5F9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422246" y="1776413"/>
            <a:ext cx="3345920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737FFDA-C10C-48FA-8FD6-D3CE1E95E81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125354" y="1776413"/>
            <a:ext cx="3345920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B05973-B524-4358-9DD6-F6223E02D3A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7240482-AF27-41E8-9418-89587CDBEBF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F0643542-A88A-4695-B96F-019370705E6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940706"/>
      </p:ext>
    </p:extLst>
  </p:cSld>
  <p:clrMapOvr>
    <a:masterClrMapping/>
  </p:clrMapOvr>
  <p:hf hdr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9" y="1776413"/>
            <a:ext cx="2417762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5EDD653C-D30C-49C7-92C7-C9CFE6C5F97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498852" y="1776413"/>
            <a:ext cx="2417762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737FFDA-C10C-48FA-8FD6-D3CE1E95E81E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273800" y="1776413"/>
            <a:ext cx="2417762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96D4C59C-62E3-4819-8CBE-B3D14687658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9053513" y="1776413"/>
            <a:ext cx="2417762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559E9D-AF2B-42DA-BF72-F7EF01EB3D6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02BCE4E2-A9B3-4FD5-ACD2-9C1A9340E12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40CE3B51-9D99-4C5D-8BCE-01E14048D6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923166"/>
      </p:ext>
    </p:extLst>
  </p:cSld>
  <p:clrMapOvr>
    <a:masterClrMapping/>
  </p:clrMapOvr>
  <p:hf hdr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19138" y="1776413"/>
            <a:ext cx="5195887" cy="32369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138" y="2170444"/>
            <a:ext cx="5195887" cy="391761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76976" y="1776413"/>
            <a:ext cx="5194299" cy="323692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5388" y="2170444"/>
            <a:ext cx="5195887" cy="3917619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AB7514CA-0520-41A7-96F3-608AEDD1D6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60646D7-B77E-4173-96F0-D0B4F8FF46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C80C8F1-7A53-4972-8A09-1FF71BC3348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FFDA4EDC-9B4E-427E-A250-397B737060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09867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295D957D-0191-426F-845F-74806521E3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3" cy="349200"/>
          </a:xfrm>
          <a:prstGeom prst="rect">
            <a:avLst/>
          </a:prstGeom>
        </p:spPr>
      </p:pic>
      <p:sp>
        <p:nvSpPr>
          <p:cNvPr id="8" name="Pladsholder til dato 6" hidden="1">
            <a:extLst>
              <a:ext uri="{FF2B5EF4-FFF2-40B4-BE49-F238E27FC236}">
                <a16:creationId xmlns:a16="http://schemas.microsoft.com/office/drawing/2014/main" id="{AD3462B8-D9D8-4934-B51F-31ECFC34F81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65568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Pladsholder til sidefod 7" hidden="1">
            <a:extLst>
              <a:ext uri="{FF2B5EF4-FFF2-40B4-BE49-F238E27FC236}">
                <a16:creationId xmlns:a16="http://schemas.microsoft.com/office/drawing/2014/main" id="{BB19CC40-8FBE-4B2D-9D6B-0BD247E7F87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3" name="Pladsholder til slidenummer 8" hidden="1">
            <a:extLst>
              <a:ext uri="{FF2B5EF4-FFF2-40B4-BE49-F238E27FC236}">
                <a16:creationId xmlns:a16="http://schemas.microsoft.com/office/drawing/2014/main" id="{F29BF0B2-F737-44C2-A9D9-C4C9E00B043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55256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365A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21F077A6-A2FA-439F-A953-93E21D29EE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3" cy="3492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8492A24-3811-42D0-944C-06345C62C6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0" name="Pladsholder til dato 6" hidden="1">
            <a:extLst>
              <a:ext uri="{FF2B5EF4-FFF2-40B4-BE49-F238E27FC236}">
                <a16:creationId xmlns:a16="http://schemas.microsoft.com/office/drawing/2014/main" id="{48C0115D-E868-49BE-8A12-58F40285F0F5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0" y="6865568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Pladsholder til sidefod 7" hidden="1">
            <a:extLst>
              <a:ext uri="{FF2B5EF4-FFF2-40B4-BE49-F238E27FC236}">
                <a16:creationId xmlns:a16="http://schemas.microsoft.com/office/drawing/2014/main" id="{A4E2A55C-B829-4234-98BD-1316E1123D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Pladsholder til slidenummer 8" hidden="1">
            <a:extLst>
              <a:ext uri="{FF2B5EF4-FFF2-40B4-BE49-F238E27FC236}">
                <a16:creationId xmlns:a16="http://schemas.microsoft.com/office/drawing/2014/main" id="{B8DAD034-2D8A-4BED-9C5A-0FE7460B812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5568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84238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7426095C-CFD4-4320-AC37-F8E4A00CEA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19138" y="1776413"/>
            <a:ext cx="10752138" cy="4311650"/>
          </a:xfrm>
        </p:spPr>
        <p:txBody>
          <a:bodyPr anchor="t" anchorCtr="0">
            <a:normAutofit/>
          </a:bodyPr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Pladsholder til dato 2" hidden="1">
            <a:extLst>
              <a:ext uri="{FF2B5EF4-FFF2-40B4-BE49-F238E27FC236}">
                <a16:creationId xmlns:a16="http://schemas.microsoft.com/office/drawing/2014/main" id="{0B00C9E7-E6E9-4919-8B0B-567FFB60EC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67623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Pladsholder til sidefod 8" hidden="1">
            <a:extLst>
              <a:ext uri="{FF2B5EF4-FFF2-40B4-BE49-F238E27FC236}">
                <a16:creationId xmlns:a16="http://schemas.microsoft.com/office/drawing/2014/main" id="{1D2F35FD-176B-42A7-9D06-AB300C93E2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flipV="1">
            <a:off x="0" y="6867623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ladsholder til slidenummer 8" hidden="1">
            <a:extLst>
              <a:ext uri="{FF2B5EF4-FFF2-40B4-BE49-F238E27FC236}">
                <a16:creationId xmlns:a16="http://schemas.microsoft.com/office/drawing/2014/main" id="{B9F497FD-D0D1-4573-BC6F-44240DBF9C5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0" y="6867623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 smtClean="0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36440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2" spcCol="50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70F6A2-9A07-4BE5-8475-17DF30F980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E7B4C358-C68B-4B87-9846-D66C6B1162E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410C0828-6098-48BA-94F0-26FC152E28B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66747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5760"/>
            <a:ext cx="5058000" cy="1303973"/>
          </a:xfrm>
        </p:spPr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73550" y="365760"/>
            <a:ext cx="5058000" cy="5812789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7A517A7-B9AF-4D82-84E3-9D3B6DE7EA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F60775-CFBD-422C-A07C-56BEE9504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E24A0-B03D-4C5C-B759-648783C66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0DF066-1277-4CB1-84A3-DBF85B11FB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" y="1893598"/>
            <a:ext cx="5058000" cy="4284952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93207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27" userDrawn="1">
          <p15:clr>
            <a:srgbClr val="FBAE40"/>
          </p15:clr>
        </p15:guide>
        <p15:guide id="2" pos="3649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3" spcCol="50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431F15-5F4E-49EE-9558-7E50E07E86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1CB58C28-B3FC-4291-8950-1098CEF806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3A1811E-8BC8-455F-BC95-8F4386E490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918231"/>
      </p:ext>
    </p:extLst>
  </p:cSld>
  <p:clrMapOvr>
    <a:masterClrMapping/>
  </p:clrMapOvr>
  <p:hf hdr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 continuou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1776413"/>
            <a:ext cx="10752137" cy="4312800"/>
          </a:xfrm>
        </p:spPr>
        <p:txBody>
          <a:bodyPr numCol="4" spcCol="50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E23493-C87A-42F8-9954-9B0836F480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5FC09665-B2A5-491A-95EE-B4301AB7B81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73996564-D2C8-48AE-8AD1-350785EC53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160613"/>
      </p:ext>
    </p:extLst>
  </p:cSld>
  <p:clrMapOvr>
    <a:masterClrMapping/>
  </p:clrMapOvr>
  <p:hf hdr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1776413"/>
            <a:ext cx="5195887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049C48D-A7B6-4C42-9AC7-C6A1A83945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977" y="1776413"/>
            <a:ext cx="5194298" cy="4312800"/>
          </a:xfrm>
          <a:solidFill>
            <a:schemeClr val="bg2">
              <a:lumMod val="95000"/>
            </a:schemeClr>
          </a:solidFill>
        </p:spPr>
        <p:txBody>
          <a:bodyPr tIns="36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n image. The image will adjust automatically to the placeholder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CD4B1C-78D1-4B4A-8A6B-82243B0672D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AF9798DE-5C08-4D85-9E6B-614C0BC3C1B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6AB02A87-B9C5-470C-8471-C5CD1C770BB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8166154"/>
      </p:ext>
    </p:extLst>
  </p:cSld>
  <p:clrMapOvr>
    <a:masterClrMapping/>
  </p:clrMapOvr>
  <p:hf hdr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138" y="358775"/>
            <a:ext cx="10752137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75388" y="1776413"/>
            <a:ext cx="5195887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049C48D-A7B6-4C42-9AC7-C6A1A839453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2315" y="1776413"/>
            <a:ext cx="5194298" cy="4312800"/>
          </a:xfrm>
          <a:solidFill>
            <a:schemeClr val="bg2">
              <a:lumMod val="95000"/>
            </a:schemeClr>
          </a:solidFill>
        </p:spPr>
        <p:txBody>
          <a:bodyPr tIns="36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n image. The image will adjust automatically to the placeholder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3170582-ECE1-4713-BBA1-DA38DF9F7D9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54CB5A-4137-443C-80FD-20F9C966F20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46AC9C37-BFFC-4E91-B1BA-4F21873FAA1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9C51B82-604D-4EBB-9002-AD8CAC45CFF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497426"/>
      </p:ext>
    </p:extLst>
  </p:cSld>
  <p:clrMapOvr>
    <a:masterClrMapping/>
  </p:clrMapOvr>
  <p:hf hdr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58000"/>
          </a:xfrm>
          <a:solidFill>
            <a:schemeClr val="bg1"/>
          </a:solidFill>
        </p:spPr>
        <p:txBody>
          <a:bodyPr tIns="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en-GB" noProof="0" dirty="0" smtClean="0"/>
              <a:t>Click the placeholder, and go to images in the </a:t>
            </a:r>
            <a:r>
              <a:rPr lang="en-GB" noProof="0" dirty="0" err="1" smtClean="0"/>
              <a:t>Templafy</a:t>
            </a:r>
            <a:r>
              <a:rPr lang="en-GB" noProof="0" dirty="0" smtClean="0"/>
              <a:t> pane to insert an image. The image will adjust automatically to the placeholder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07B3B3-899D-45BB-9962-EBBC4E15F8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9AF56104-C9C1-44C4-8C6E-CB68A233E43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19D13963-3179-45DA-AED6-579DD0294A1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249365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blue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rgbClr val="1F323F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34188104-2484-44A6-9210-7A15E2A388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dsholder til dato 7" hidden="1">
            <a:extLst>
              <a:ext uri="{FF2B5EF4-FFF2-40B4-BE49-F238E27FC236}">
                <a16:creationId xmlns:a16="http://schemas.microsoft.com/office/drawing/2014/main" id="{5ABF6581-0DEE-4469-A16E-4A33F4A5F29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Pladsholder til sidefod 8" hidden="1">
            <a:extLst>
              <a:ext uri="{FF2B5EF4-FFF2-40B4-BE49-F238E27FC236}">
                <a16:creationId xmlns:a16="http://schemas.microsoft.com/office/drawing/2014/main" id="{59EDCB9B-B5A2-478B-B123-6540FC186F7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3204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een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rgbClr val="365A1F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EEBA6396-52E4-4712-9342-42133BD8EE1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ladsholder til dato 5" hidden="1">
            <a:extLst>
              <a:ext uri="{FF2B5EF4-FFF2-40B4-BE49-F238E27FC236}">
                <a16:creationId xmlns:a16="http://schemas.microsoft.com/office/drawing/2014/main" id="{69E3664F-5217-4F3D-B36F-9488079ACA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ladsholder til sidefod 6" hidden="1">
            <a:extLst>
              <a:ext uri="{FF2B5EF4-FFF2-40B4-BE49-F238E27FC236}">
                <a16:creationId xmlns:a16="http://schemas.microsoft.com/office/drawing/2014/main" id="{B3D3E702-3933-4147-884E-76CDCBC77D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25477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gray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Kombinationstegning: figur 19">
            <a:extLst>
              <a:ext uri="{FF2B5EF4-FFF2-40B4-BE49-F238E27FC236}">
                <a16:creationId xmlns:a16="http://schemas.microsoft.com/office/drawing/2014/main" id="{FF96C944-B33F-4165-B49D-F1346088AE12}"/>
              </a:ext>
            </a:extLst>
          </p:cNvPr>
          <p:cNvSpPr/>
          <p:nvPr userDrawn="1"/>
        </p:nvSpPr>
        <p:spPr>
          <a:xfrm rot="10800000">
            <a:off x="9333785" y="-1346"/>
            <a:ext cx="2858215" cy="6858000"/>
          </a:xfrm>
          <a:custGeom>
            <a:avLst/>
            <a:gdLst>
              <a:gd name="connsiteX0" fmla="*/ 1918567 w 2858215"/>
              <a:gd name="connsiteY0" fmla="*/ 6858000 h 6858000"/>
              <a:gd name="connsiteX1" fmla="*/ 0 w 2858215"/>
              <a:gd name="connsiteY1" fmla="*/ 6858000 h 6858000"/>
              <a:gd name="connsiteX2" fmla="*/ 0 w 2858215"/>
              <a:gd name="connsiteY2" fmla="*/ 0 h 6858000"/>
              <a:gd name="connsiteX3" fmla="*/ 2858215 w 2858215"/>
              <a:gd name="connsiteY3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1918567" y="6858000"/>
                </a:moveTo>
                <a:lnTo>
                  <a:pt x="0" y="6858000"/>
                </a:lnTo>
                <a:lnTo>
                  <a:pt x="0" y="0"/>
                </a:lnTo>
                <a:lnTo>
                  <a:pt x="2858215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/>
            </a:lvl1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3E1912AB-37A6-4D23-AC7E-5A86B8200BD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dsholder til dato 2" hidden="1">
            <a:extLst>
              <a:ext uri="{FF2B5EF4-FFF2-40B4-BE49-F238E27FC236}">
                <a16:creationId xmlns:a16="http://schemas.microsoft.com/office/drawing/2014/main" id="{0B9376FE-FF95-4B3E-A9DC-1C38E11007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 hidden="1">
            <a:extLst>
              <a:ext uri="{FF2B5EF4-FFF2-40B4-BE49-F238E27FC236}">
                <a16:creationId xmlns:a16="http://schemas.microsoft.com/office/drawing/2014/main" id="{0B61BC8E-B88E-4765-8F84-0875F02EAA9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56824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billede 18">
            <a:extLst>
              <a:ext uri="{FF2B5EF4-FFF2-40B4-BE49-F238E27FC236}">
                <a16:creationId xmlns:a16="http://schemas.microsoft.com/office/drawing/2014/main" id="{BEA719FD-82D1-4B7F-A1BF-7436A38B98A5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9333786" y="0"/>
            <a:ext cx="2858215" cy="6858000"/>
          </a:xfrm>
          <a:custGeom>
            <a:avLst/>
            <a:gdLst>
              <a:gd name="connsiteX0" fmla="*/ 939648 w 2858215"/>
              <a:gd name="connsiteY0" fmla="*/ 0 h 6858000"/>
              <a:gd name="connsiteX1" fmla="*/ 2858215 w 2858215"/>
              <a:gd name="connsiteY1" fmla="*/ 0 h 6858000"/>
              <a:gd name="connsiteX2" fmla="*/ 2858215 w 2858215"/>
              <a:gd name="connsiteY2" fmla="*/ 6858000 h 6858000"/>
              <a:gd name="connsiteX3" fmla="*/ 0 w 285821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58215" h="6858000">
                <a:moveTo>
                  <a:pt x="939648" y="0"/>
                </a:moveTo>
                <a:lnTo>
                  <a:pt x="2858215" y="0"/>
                </a:lnTo>
                <a:lnTo>
                  <a:pt x="285821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972000" tIns="72000" rIns="144000" bIns="0" anchor="t" anchorCtr="0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3"/>
              </a:buClr>
              <a:buSzTx/>
              <a:buFont typeface="Times New Roman" panose="02020603050405020304" pitchFamily="18" charset="0"/>
              <a:buNone/>
              <a:tabLst/>
              <a:defRPr/>
            </a:pPr>
            <a:r>
              <a:rPr lang="en-GB" dirty="0" smtClean="0"/>
              <a:t>Click the placeholder, and go to images in the </a:t>
            </a:r>
            <a:r>
              <a:rPr lang="en-GB" dirty="0" err="1" smtClean="0"/>
              <a:t>Templafy</a:t>
            </a:r>
            <a:r>
              <a:rPr lang="en-GB" dirty="0" smtClean="0"/>
              <a:t> pane to insert a runner image. The image will adjust automatically to the placeholder.</a:t>
            </a:r>
            <a:endParaRPr lang="en-GB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95E3F9A-D42A-4B4C-A65D-94A440BAF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8413433" cy="1081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A65E2C95-F706-4FAB-B5FE-EFC3F402787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20000" y="1776413"/>
            <a:ext cx="8413433" cy="43128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4" name="Pladsholder til tekst 3">
            <a:extLst>
              <a:ext uri="{FF2B5EF4-FFF2-40B4-BE49-F238E27FC236}">
                <a16:creationId xmlns:a16="http://schemas.microsoft.com/office/drawing/2014/main" id="{672426CE-D4E0-4D3B-AD1E-3C4A184173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002564" y="4126696"/>
            <a:ext cx="1854475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7EC7B58-64C1-4AD6-A491-F9F62F708A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dsholder til dato 2" hidden="1">
            <a:extLst>
              <a:ext uri="{FF2B5EF4-FFF2-40B4-BE49-F238E27FC236}">
                <a16:creationId xmlns:a16="http://schemas.microsoft.com/office/drawing/2014/main" id="{BCD85F1B-D67C-488F-97B6-EF5FF0E1D4E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 hidden="1">
            <a:extLst>
              <a:ext uri="{FF2B5EF4-FFF2-40B4-BE49-F238E27FC236}">
                <a16:creationId xmlns:a16="http://schemas.microsoft.com/office/drawing/2014/main" id="{926E1EE3-3440-49FC-9693-6229C75F362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77132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BD110D9-B423-43A6-8AAB-099BD6CE1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94F57314-C5B8-4EEB-85D3-70E901432A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139" y="6486660"/>
            <a:ext cx="4134216" cy="180000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rgbClr val="788C96"/>
                </a:solidFill>
              </a:defRPr>
            </a:lvl1pPr>
            <a:lvl2pPr marL="177800" indent="0">
              <a:buNone/>
              <a:defRPr/>
            </a:lvl2pPr>
          </a:lstStyle>
          <a:p>
            <a:pPr lvl="0"/>
            <a:r>
              <a:rPr lang="en-GB" noProof="0" dirty="0" smtClean="0"/>
              <a:t>Edit Master text styles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3DAF3B-002F-4E6A-BE54-40EB5FFAA48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BFB64D7-6AF3-4C08-A124-008615B308B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C1B24604-1FB8-4830-B9ED-CD207CC16F1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 smtClean="0"/>
              <a:t>0	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4039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tags" Target="../tags/tag5.xml"/><Relationship Id="rId40" Type="http://schemas.openxmlformats.org/officeDocument/2006/relationships/image" Target="../media/image16.emf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tags" Target="../tags/tag4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slideLayout" Target="../slideLayouts/slideLayout5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vmlDrawing" Target="../drawings/vmlDrawing5.v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theme" Target="../theme/theme3.xml"/><Relationship Id="rId28" Type="http://schemas.openxmlformats.org/officeDocument/2006/relationships/image" Target="../media/image29.emf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34" Type="http://schemas.openxmlformats.org/officeDocument/2006/relationships/image" Target="../media/image29.emf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33" Type="http://schemas.openxmlformats.org/officeDocument/2006/relationships/oleObject" Target="../embeddings/oleObject6.bin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32" Type="http://schemas.openxmlformats.org/officeDocument/2006/relationships/tags" Target="../tags/tag1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tags" Target="../tags/tag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vmlDrawing" Target="../drawings/vmlDrawing6.vml"/><Relationship Id="rId35" Type="http://schemas.openxmlformats.org/officeDocument/2006/relationships/image" Target="../media/image16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vmlDrawing" Target="../drawings/vmlDrawing7.v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theme" Target="../theme/theme5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8937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4" name="think-cell Slide" r:id="rId27" imgW="348" imgH="346" progId="TCLayout.ActiveDocument.1">
                  <p:embed/>
                </p:oleObj>
              </mc:Choice>
              <mc:Fallback>
                <p:oleObj name="think-cell Slide" r:id="rId27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GB" sz="36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ktangel green">
            <a:extLst>
              <a:ext uri="{FF2B5EF4-FFF2-40B4-BE49-F238E27FC236}">
                <a16:creationId xmlns:a16="http://schemas.microsoft.com/office/drawing/2014/main" id="{B13787A7-E7ED-41BF-A18F-C0426E540327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ktangel dark green">
            <a:extLst>
              <a:ext uri="{FF2B5EF4-FFF2-40B4-BE49-F238E27FC236}">
                <a16:creationId xmlns:a16="http://schemas.microsoft.com/office/drawing/2014/main" id="{87E3C0F8-E5EB-423A-8525-1B88649A6A1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12" y="1893600"/>
            <a:ext cx="10396800" cy="4285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Tekstfelt Logo navn">
            <a:extLst>
              <a:ext uri="{FF2B5EF4-FFF2-40B4-BE49-F238E27FC236}">
                <a16:creationId xmlns:a16="http://schemas.microsoft.com/office/drawing/2014/main" id="{A195006F-C401-47B9-8CC0-45C58235A713}"/>
              </a:ext>
            </a:extLst>
          </p:cNvPr>
          <p:cNvSpPr txBox="1"/>
          <p:nvPr userDrawn="1"/>
        </p:nvSpPr>
        <p:spPr>
          <a:xfrm>
            <a:off x="766713" y="6362916"/>
            <a:ext cx="875324" cy="17997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00" b="1" spc="0" baseline="0" noProof="1">
                <a:solidFill>
                  <a:schemeClr val="accent3"/>
                </a:solidFill>
              </a:rPr>
              <a:t>Wiersholm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1824420" y="6362700"/>
            <a:ext cx="3968368" cy="18019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183" y="6362892"/>
            <a:ext cx="39492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D17D353D-5BA9-4C4C-82F8-22CFF1232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63" r:id="rId2"/>
    <p:sldLayoutId id="2147483779" r:id="rId3"/>
    <p:sldLayoutId id="2147483731" r:id="rId4"/>
    <p:sldLayoutId id="2147483732" r:id="rId5"/>
    <p:sldLayoutId id="2147483765" r:id="rId6"/>
    <p:sldLayoutId id="2147483757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7" r:id="rId14"/>
    <p:sldLayoutId id="2147483775" r:id="rId15"/>
    <p:sldLayoutId id="2147483778" r:id="rId16"/>
    <p:sldLayoutId id="2147483774" r:id="rId17"/>
    <p:sldLayoutId id="2147483743" r:id="rId18"/>
    <p:sldLayoutId id="2147483744" r:id="rId19"/>
    <p:sldLayoutId id="2147483737" r:id="rId20"/>
    <p:sldLayoutId id="2147483762" r:id="rId21"/>
    <p:sldLayoutId id="2147483751" r:id="rId22"/>
  </p:sldLayoutIdLst>
  <p:hf hdr="0" ftr="0" dt="0"/>
  <p:txStyles>
    <p:titleStyle>
      <a:lvl1pPr algn="l" defTabSz="914400" rtl="0" eaLnBrk="1" latinLnBrk="0" hangingPunct="1">
        <a:lnSpc>
          <a:spcPct val="98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 userDrawn="1">
          <p15:clr>
            <a:srgbClr val="F26B43"/>
          </p15:clr>
        </p15:guide>
        <p15:guide id="2" pos="7012" userDrawn="1">
          <p15:clr>
            <a:srgbClr val="F26B43"/>
          </p15:clr>
        </p15:guide>
        <p15:guide id="3" orient="horz" pos="230" userDrawn="1">
          <p15:clr>
            <a:srgbClr val="F26B43"/>
          </p15:clr>
        </p15:guide>
        <p15:guide id="4" orient="horz" pos="1051" userDrawn="1">
          <p15:clr>
            <a:srgbClr val="F26B43"/>
          </p15:clr>
        </p15:guide>
        <p15:guide id="6" orient="horz" pos="1192" userDrawn="1">
          <p15:clr>
            <a:srgbClr val="F26B43"/>
          </p15:clr>
        </p15:guide>
        <p15:guide id="7" orient="horz" pos="3891" userDrawn="1">
          <p15:clr>
            <a:srgbClr val="F26B43"/>
          </p15:clr>
        </p15:guide>
        <p15:guide id="11" orient="horz" pos="4008" userDrawn="1">
          <p15:clr>
            <a:srgbClr val="F26B43"/>
          </p15:clr>
        </p15:guide>
        <p15:guide id="12" orient="horz" pos="412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37101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8" name="think-cell Slide" r:id="rId38" imgW="348" imgH="346" progId="TCLayout.ActiveDocument.1">
                  <p:embed/>
                </p:oleObj>
              </mc:Choice>
              <mc:Fallback>
                <p:oleObj name="think-cell Slide" r:id="rId38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a-DK" sz="3600" b="0" i="0" baseline="0" noProof="0" dirty="0" err="1" smtClean="0"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10752137" cy="108108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da-DK" dirty="0"/>
              <a:t>Klik for at redigere titeltypografien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776413"/>
            <a:ext cx="10752137" cy="431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89645" y="6486660"/>
            <a:ext cx="88163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cap="all" baseline="0">
                <a:solidFill>
                  <a:srgbClr val="788C96"/>
                </a:solidFill>
              </a:defRPr>
            </a:lvl1pPr>
          </a:lstStyle>
          <a:p>
            <a:r>
              <a:rPr lang="en-GB"/>
              <a:t>Page no </a:t>
            </a:r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94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2"/>
          </p:nvPr>
        </p:nvSpPr>
        <p:spPr>
          <a:xfrm>
            <a:off x="0" y="694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17" name="Logo">
            <a:extLst>
              <a:ext uri="{FF2B5EF4-FFF2-40B4-BE49-F238E27FC236}">
                <a16:creationId xmlns:a16="http://schemas.microsoft.com/office/drawing/2014/main" id="{5374228B-1E15-4F74-8C1D-97251AFD4320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4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450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</p:sldLayoutIdLst>
  <p:hf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Times New Roman" panose="02020603050405020304" pitchFamily="18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defRPr sz="6000" kern="1200">
          <a:solidFill>
            <a:schemeClr val="tx1"/>
          </a:solidFill>
          <a:latin typeface="+mn-lt"/>
          <a:ea typeface="+mn-ea"/>
          <a:cs typeface="+mn-cs"/>
        </a:defRPr>
      </a:lvl6pPr>
      <a:lvl7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Times New Roman" panose="02020603050405020304" pitchFamily="18" charset="0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+mj-lt"/>
        <a:buAutoNum type="alphaU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6">
          <p15:clr>
            <a:srgbClr val="F26B43"/>
          </p15:clr>
        </p15:guide>
        <p15:guide id="4" orient="horz" pos="907">
          <p15:clr>
            <a:srgbClr val="F26B43"/>
          </p15:clr>
        </p15:guide>
        <p15:guide id="5" pos="7226">
          <p15:clr>
            <a:srgbClr val="F26B43"/>
          </p15:clr>
        </p15:guide>
        <p15:guide id="7" pos="3726">
          <p15:clr>
            <a:srgbClr val="F26B43"/>
          </p15:clr>
        </p15:guide>
        <p15:guide id="8" pos="3953">
          <p15:clr>
            <a:srgbClr val="F26B43"/>
          </p15:clr>
        </p15:guide>
        <p15:guide id="9" orient="horz" pos="1119">
          <p15:clr>
            <a:srgbClr val="F26B43"/>
          </p15:clr>
        </p15:guide>
        <p15:guide id="10" orient="horz" pos="3835">
          <p15:clr>
            <a:srgbClr val="F26B43"/>
          </p15:clr>
        </p15:guide>
        <p15:guide id="12" pos="453">
          <p15:clr>
            <a:srgbClr val="F26B43"/>
          </p15:clr>
        </p15:guide>
        <p15:guide id="14" orient="horz" pos="417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694043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1" name="think-cell Slide" r:id="rId27" imgW="351" imgH="351" progId="TCLayout.ActiveDocument.1">
                  <p:embed/>
                </p:oleObj>
              </mc:Choice>
              <mc:Fallback>
                <p:oleObj name="think-cell Slide" r:id="rId27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36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ktangel green">
            <a:extLst>
              <a:ext uri="{FF2B5EF4-FFF2-40B4-BE49-F238E27FC236}">
                <a16:creationId xmlns:a16="http://schemas.microsoft.com/office/drawing/2014/main" id="{B13787A7-E7ED-41BF-A18F-C0426E540327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ktangel dark green">
            <a:extLst>
              <a:ext uri="{FF2B5EF4-FFF2-40B4-BE49-F238E27FC236}">
                <a16:creationId xmlns:a16="http://schemas.microsoft.com/office/drawing/2014/main" id="{87E3C0F8-E5EB-423A-8525-1B88649A6A1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12" y="1893600"/>
            <a:ext cx="10396800" cy="4285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Tekstfelt Logo navn">
            <a:extLst>
              <a:ext uri="{FF2B5EF4-FFF2-40B4-BE49-F238E27FC236}">
                <a16:creationId xmlns:a16="http://schemas.microsoft.com/office/drawing/2014/main" id="{A195006F-C401-47B9-8CC0-45C58235A713}"/>
              </a:ext>
            </a:extLst>
          </p:cNvPr>
          <p:cNvSpPr txBox="1"/>
          <p:nvPr userDrawn="1"/>
        </p:nvSpPr>
        <p:spPr>
          <a:xfrm>
            <a:off x="766713" y="6362916"/>
            <a:ext cx="875324" cy="17997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00" b="1" spc="0" baseline="0" noProof="1">
                <a:solidFill>
                  <a:schemeClr val="accent3"/>
                </a:solidFill>
              </a:rPr>
              <a:t>Wiersholm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1824420" y="6362700"/>
            <a:ext cx="3968368" cy="18019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183" y="6362892"/>
            <a:ext cx="39492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D17D353D-5BA9-4C4C-82F8-22CFF1232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4628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  <p:sldLayoutId id="2147483828" r:id="rId14"/>
    <p:sldLayoutId id="2147483829" r:id="rId15"/>
    <p:sldLayoutId id="2147483830" r:id="rId16"/>
    <p:sldLayoutId id="2147483831" r:id="rId17"/>
    <p:sldLayoutId id="2147483832" r:id="rId18"/>
    <p:sldLayoutId id="2147483833" r:id="rId19"/>
    <p:sldLayoutId id="2147483834" r:id="rId20"/>
    <p:sldLayoutId id="2147483835" r:id="rId21"/>
    <p:sldLayoutId id="2147483836" r:id="rId22"/>
  </p:sldLayoutIdLst>
  <p:hf hdr="0"/>
  <p:txStyles>
    <p:titleStyle>
      <a:lvl1pPr algn="l" defTabSz="914400" rtl="0" eaLnBrk="1" latinLnBrk="0" hangingPunct="1">
        <a:lnSpc>
          <a:spcPct val="98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012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1051">
          <p15:clr>
            <a:srgbClr val="F26B43"/>
          </p15:clr>
        </p15:guide>
        <p15:guide id="6" orient="horz" pos="1192">
          <p15:clr>
            <a:srgbClr val="F26B43"/>
          </p15:clr>
        </p15:guide>
        <p15:guide id="7" orient="horz" pos="3891">
          <p15:clr>
            <a:srgbClr val="F26B43"/>
          </p15:clr>
        </p15:guide>
        <p15:guide id="11" orient="horz" pos="4008">
          <p15:clr>
            <a:srgbClr val="F26B43"/>
          </p15:clr>
        </p15:guide>
        <p15:guide id="12" orient="horz" pos="412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492189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" name="think-cell Slide" r:id="rId33" imgW="351" imgH="351" progId="TCLayout.ActiveDocument.1">
                  <p:embed/>
                </p:oleObj>
              </mc:Choice>
              <mc:Fallback>
                <p:oleObj name="think-cell Slide" r:id="rId3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1F3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noProof="0" dirty="0" err="1" smtClean="0"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358775"/>
            <a:ext cx="10752137" cy="1081088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776413"/>
            <a:ext cx="10752137" cy="431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89645" y="6486660"/>
            <a:ext cx="88163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cap="all" baseline="0">
                <a:solidFill>
                  <a:srgbClr val="788C96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Logo">
            <a:extLst>
              <a:ext uri="{FF2B5EF4-FFF2-40B4-BE49-F238E27FC236}">
                <a16:creationId xmlns:a16="http://schemas.microsoft.com/office/drawing/2014/main" id="{5374228B-1E15-4F74-8C1D-97251AFD432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600" y="6332837"/>
            <a:ext cx="945664" cy="349200"/>
          </a:xfrm>
          <a:prstGeom prst="rect">
            <a:avLst/>
          </a:prstGeom>
        </p:spPr>
      </p:pic>
      <p:sp>
        <p:nvSpPr>
          <p:cNvPr id="5" name="FLD_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863157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 cap="all" baseline="0">
                <a:noFill/>
              </a:defRPr>
            </a:lvl1pPr>
          </a:lstStyle>
          <a:p>
            <a:r>
              <a:rPr lang="en-GB" dirty="0"/>
              <a:t>0		</a:t>
            </a:r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2"/>
          </p:nvPr>
        </p:nvSpPr>
        <p:spPr>
          <a:xfrm>
            <a:off x="0" y="6863157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 cap="all" baseline="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053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54" r:id="rId17"/>
    <p:sldLayoutId id="2147483855" r:id="rId18"/>
    <p:sldLayoutId id="2147483856" r:id="rId19"/>
    <p:sldLayoutId id="2147483857" r:id="rId20"/>
    <p:sldLayoutId id="2147483858" r:id="rId21"/>
    <p:sldLayoutId id="2147483859" r:id="rId22"/>
    <p:sldLayoutId id="2147483860" r:id="rId23"/>
    <p:sldLayoutId id="2147483861" r:id="rId24"/>
    <p:sldLayoutId id="2147483862" r:id="rId25"/>
    <p:sldLayoutId id="2147483863" r:id="rId26"/>
    <p:sldLayoutId id="2147483864" r:id="rId27"/>
    <p:sldLayoutId id="2147483865" r:id="rId28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Times New Roman" panose="02020603050405020304" pitchFamily="18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Times New Roman" panose="02020603050405020304" pitchFamily="18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​"/>
        <a:defRPr sz="6000" kern="1200">
          <a:solidFill>
            <a:schemeClr val="tx1"/>
          </a:solidFill>
          <a:latin typeface="+mn-lt"/>
          <a:ea typeface="+mn-ea"/>
          <a:cs typeface="+mn-cs"/>
        </a:defRPr>
      </a:lvl6pPr>
      <a:lvl7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Times New Roman" panose="02020603050405020304" pitchFamily="18" charset="0"/>
        <a:buChar char="§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tx2"/>
        </a:buClr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Font typeface="+mj-lt"/>
        <a:buAutoNum type="alphaU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26">
          <p15:clr>
            <a:srgbClr val="F26B43"/>
          </p15:clr>
        </p15:guide>
        <p15:guide id="4" orient="horz" pos="907">
          <p15:clr>
            <a:srgbClr val="F26B43"/>
          </p15:clr>
        </p15:guide>
        <p15:guide id="5" pos="7226">
          <p15:clr>
            <a:srgbClr val="F26B43"/>
          </p15:clr>
        </p15:guide>
        <p15:guide id="7" pos="3726">
          <p15:clr>
            <a:srgbClr val="F26B43"/>
          </p15:clr>
        </p15:guide>
        <p15:guide id="8" pos="3953">
          <p15:clr>
            <a:srgbClr val="F26B43"/>
          </p15:clr>
        </p15:guide>
        <p15:guide id="9" orient="horz" pos="1119">
          <p15:clr>
            <a:srgbClr val="F26B43"/>
          </p15:clr>
        </p15:guide>
        <p15:guide id="10" orient="horz" pos="3835">
          <p15:clr>
            <a:srgbClr val="F26B43"/>
          </p15:clr>
        </p15:guide>
        <p15:guide id="12" pos="453">
          <p15:clr>
            <a:srgbClr val="F26B43"/>
          </p15:clr>
        </p15:guide>
        <p15:guide id="14" orient="horz" pos="417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5" name="think-cell Slide" r:id="rId27" imgW="348" imgH="346" progId="TCLayout.ActiveDocument.1">
                  <p:embed/>
                </p:oleObj>
              </mc:Choice>
              <mc:Fallback>
                <p:oleObj name="think-cell Slide" r:id="rId27" imgW="348" imgH="34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3600" b="1" i="0" baseline="0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ktangel green">
            <a:extLst>
              <a:ext uri="{FF2B5EF4-FFF2-40B4-BE49-F238E27FC236}">
                <a16:creationId xmlns:a16="http://schemas.microsoft.com/office/drawing/2014/main" id="{B13787A7-E7ED-41BF-A18F-C0426E540327}"/>
              </a:ext>
            </a:extLst>
          </p:cNvPr>
          <p:cNvSpPr/>
          <p:nvPr userDrawn="1"/>
        </p:nvSpPr>
        <p:spPr>
          <a:xfrm flipV="1">
            <a:off x="11428800" y="-3"/>
            <a:ext cx="763200" cy="53355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Rektangel dark green">
            <a:extLst>
              <a:ext uri="{FF2B5EF4-FFF2-40B4-BE49-F238E27FC236}">
                <a16:creationId xmlns:a16="http://schemas.microsoft.com/office/drawing/2014/main" id="{87E3C0F8-E5EB-423A-8525-1B88649A6A1A}"/>
              </a:ext>
            </a:extLst>
          </p:cNvPr>
          <p:cNvSpPr/>
          <p:nvPr userDrawn="1"/>
        </p:nvSpPr>
        <p:spPr>
          <a:xfrm>
            <a:off x="11428800" y="5335571"/>
            <a:ext cx="763200" cy="15224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012" y="365760"/>
            <a:ext cx="10396800" cy="130397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12" y="1893600"/>
            <a:ext cx="10396800" cy="4285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11" name="Tekstfelt Logo navn">
            <a:extLst>
              <a:ext uri="{FF2B5EF4-FFF2-40B4-BE49-F238E27FC236}">
                <a16:creationId xmlns:a16="http://schemas.microsoft.com/office/drawing/2014/main" id="{A195006F-C401-47B9-8CC0-45C58235A713}"/>
              </a:ext>
            </a:extLst>
          </p:cNvPr>
          <p:cNvSpPr txBox="1"/>
          <p:nvPr userDrawn="1"/>
        </p:nvSpPr>
        <p:spPr>
          <a:xfrm>
            <a:off x="766713" y="6362916"/>
            <a:ext cx="875324" cy="17997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00" b="1" spc="0" baseline="0" noProof="1">
                <a:solidFill>
                  <a:schemeClr val="accent3"/>
                </a:solidFill>
              </a:rPr>
              <a:t>Wiersholm</a:t>
            </a:r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1824420" y="6362700"/>
            <a:ext cx="3968368" cy="180192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11183" y="6362892"/>
            <a:ext cx="394920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Date Placeholder 3" hidden="1">
            <a:extLst>
              <a:ext uri="{FF2B5EF4-FFF2-40B4-BE49-F238E27FC236}">
                <a16:creationId xmlns:a16="http://schemas.microsoft.com/office/drawing/2014/main" id="{D17D353D-5BA9-4C4C-82F8-22CFF12326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8728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7" r:id="rId1"/>
    <p:sldLayoutId id="2147483868" r:id="rId2"/>
    <p:sldLayoutId id="2147483869" r:id="rId3"/>
    <p:sldLayoutId id="2147483870" r:id="rId4"/>
    <p:sldLayoutId id="2147483871" r:id="rId5"/>
    <p:sldLayoutId id="2147483872" r:id="rId6"/>
    <p:sldLayoutId id="2147483873" r:id="rId7"/>
    <p:sldLayoutId id="2147483874" r:id="rId8"/>
    <p:sldLayoutId id="2147483875" r:id="rId9"/>
    <p:sldLayoutId id="2147483876" r:id="rId10"/>
    <p:sldLayoutId id="2147483877" r:id="rId11"/>
    <p:sldLayoutId id="2147483878" r:id="rId12"/>
    <p:sldLayoutId id="2147483879" r:id="rId13"/>
    <p:sldLayoutId id="2147483880" r:id="rId14"/>
    <p:sldLayoutId id="2147483881" r:id="rId15"/>
    <p:sldLayoutId id="2147483882" r:id="rId16"/>
    <p:sldLayoutId id="2147483883" r:id="rId17"/>
    <p:sldLayoutId id="2147483884" r:id="rId18"/>
    <p:sldLayoutId id="2147483885" r:id="rId19"/>
    <p:sldLayoutId id="2147483886" r:id="rId20"/>
    <p:sldLayoutId id="2147483887" r:id="rId21"/>
    <p:sldLayoutId id="2147483888" r:id="rId22"/>
  </p:sldLayoutIdLst>
  <p:hf hdr="0" ftr="0" dt="0"/>
  <p:txStyles>
    <p:titleStyle>
      <a:lvl1pPr algn="l" defTabSz="914400" rtl="0" eaLnBrk="1" latinLnBrk="0" hangingPunct="1">
        <a:lnSpc>
          <a:spcPct val="98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62">
          <p15:clr>
            <a:srgbClr val="F26B43"/>
          </p15:clr>
        </p15:guide>
        <p15:guide id="2" pos="7012">
          <p15:clr>
            <a:srgbClr val="F26B43"/>
          </p15:clr>
        </p15:guide>
        <p15:guide id="3" orient="horz" pos="230">
          <p15:clr>
            <a:srgbClr val="F26B43"/>
          </p15:clr>
        </p15:guide>
        <p15:guide id="4" orient="horz" pos="1051">
          <p15:clr>
            <a:srgbClr val="F26B43"/>
          </p15:clr>
        </p15:guide>
        <p15:guide id="6" orient="horz" pos="1192">
          <p15:clr>
            <a:srgbClr val="F26B43"/>
          </p15:clr>
        </p15:guide>
        <p15:guide id="7" orient="horz" pos="3891">
          <p15:clr>
            <a:srgbClr val="F26B43"/>
          </p15:clr>
        </p15:guide>
        <p15:guide id="11" orient="horz" pos="4008">
          <p15:clr>
            <a:srgbClr val="F26B43"/>
          </p15:clr>
        </p15:guide>
        <p15:guide id="12" orient="horz" pos="41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3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7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23.xml"/><Relationship Id="rId7" Type="http://schemas.openxmlformats.org/officeDocument/2006/relationships/image" Target="../media/image2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2.xml"/><Relationship Id="rId9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209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Slide" r:id="rId6" imgW="348" imgH="346" progId="TCLayout.ActiveDocument.1">
                  <p:embed/>
                </p:oleObj>
              </mc:Choice>
              <mc:Fallback>
                <p:oleObj name="think-cell Slide" r:id="rId6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54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413" name="Picture 5" descr="electric posts near tress under clear sky at daytime"/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2" b="5002"/>
          <a:stretch>
            <a:fillRect/>
          </a:stretch>
        </p:blipFill>
        <p:spPr bwMode="auto">
          <a:xfrm flipH="1">
            <a:off x="0" y="-1"/>
            <a:ext cx="11430000" cy="686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5400" dirty="0"/>
              <a:t>PPAs from a Nordic perspective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Svanhild </a:t>
            </a:r>
            <a:r>
              <a:rPr lang="en-GB" dirty="0" smtClean="0"/>
              <a:t>Vesterheim, managing associat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All-Energy webinar, 30 September </a:t>
            </a:r>
            <a:r>
              <a:rPr lang="en-GB" dirty="0" smtClean="0">
                <a:solidFill>
                  <a:schemeClr val="bg1"/>
                </a:solidFill>
              </a:rPr>
              <a:t>2020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1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778" y="5922888"/>
            <a:ext cx="1676772" cy="61920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111608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3104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7" name="think-cell Slide" r:id="rId6" imgW="348" imgH="346" progId="TCLayout.ActiveDocument.1">
                  <p:embed/>
                </p:oleObj>
              </mc:Choice>
              <mc:Fallback>
                <p:oleObj name="think-cell Slide" r:id="rId6" imgW="348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6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rdic corporate PPA driver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>
              <a:buClr>
                <a:srgbClr val="FF614F"/>
              </a:buClr>
            </a:pPr>
            <a:r>
              <a:rPr lang="en-GB" dirty="0">
                <a:solidFill>
                  <a:srgbClr val="000000"/>
                </a:solidFill>
              </a:rPr>
              <a:t>The Nordic region has dominated the corporate PPA market in Europe over the past years</a:t>
            </a:r>
          </a:p>
          <a:p>
            <a:pPr lvl="1">
              <a:buClr>
                <a:srgbClr val="FF614F"/>
              </a:buClr>
            </a:pPr>
            <a:r>
              <a:rPr lang="en-GB" dirty="0">
                <a:solidFill>
                  <a:srgbClr val="000000"/>
                </a:solidFill>
              </a:rPr>
              <a:t>Norwegian-Swedish renewable support system (the el-certificate scheme)</a:t>
            </a:r>
          </a:p>
          <a:p>
            <a:pPr lvl="1">
              <a:buClr>
                <a:srgbClr val="FF614F"/>
              </a:buClr>
            </a:pPr>
            <a:r>
              <a:rPr lang="en-GB" dirty="0">
                <a:solidFill>
                  <a:srgbClr val="000000"/>
                </a:solidFill>
              </a:rPr>
              <a:t>High quality wind resources and vast hydropower resources</a:t>
            </a:r>
          </a:p>
          <a:p>
            <a:pPr lvl="1">
              <a:buClr>
                <a:srgbClr val="FF614F"/>
              </a:buClr>
            </a:pPr>
            <a:r>
              <a:rPr lang="en-GB" dirty="0" smtClean="0">
                <a:solidFill>
                  <a:srgbClr val="000000"/>
                </a:solidFill>
              </a:rPr>
              <a:t>Project financing – securing bankability</a:t>
            </a:r>
          </a:p>
          <a:p>
            <a:pPr lvl="1">
              <a:buClr>
                <a:srgbClr val="FF614F"/>
              </a:buClr>
            </a:pPr>
            <a:r>
              <a:rPr lang="en-GB" dirty="0" smtClean="0">
                <a:solidFill>
                  <a:srgbClr val="000000"/>
                </a:solidFill>
              </a:rPr>
              <a:t>Demand </a:t>
            </a:r>
            <a:r>
              <a:rPr lang="en-GB" dirty="0">
                <a:solidFill>
                  <a:srgbClr val="000000"/>
                </a:solidFill>
              </a:rPr>
              <a:t>from large industry companies and technology giants </a:t>
            </a:r>
          </a:p>
          <a:p>
            <a:pPr lvl="1">
              <a:buClr>
                <a:srgbClr val="FF614F"/>
              </a:buClr>
            </a:pPr>
            <a:r>
              <a:rPr lang="en-GB" dirty="0">
                <a:solidFill>
                  <a:srgbClr val="000000"/>
                </a:solidFill>
              </a:rPr>
              <a:t>Low power prices</a:t>
            </a:r>
          </a:p>
          <a:p>
            <a:pPr lvl="1">
              <a:buClr>
                <a:srgbClr val="FF614F"/>
              </a:buClr>
            </a:pPr>
            <a:r>
              <a:rPr lang="en-GB" dirty="0" smtClean="0">
                <a:solidFill>
                  <a:srgbClr val="000000"/>
                </a:solidFill>
              </a:rPr>
              <a:t>Snowball effect</a:t>
            </a:r>
          </a:p>
          <a:p>
            <a:pPr lvl="0">
              <a:buClr>
                <a:srgbClr val="FF614F"/>
              </a:buClr>
            </a:pPr>
            <a:endParaRPr lang="en-GB" dirty="0">
              <a:solidFill>
                <a:srgbClr val="000000"/>
              </a:solidFill>
            </a:endParaRPr>
          </a:p>
          <a:p>
            <a:endParaRPr lang="en-GB" dirty="0"/>
          </a:p>
        </p:txBody>
      </p:sp>
      <p:grpSp>
        <p:nvGrpSpPr>
          <p:cNvPr id="13" name="Group 12"/>
          <p:cNvGrpSpPr/>
          <p:nvPr/>
        </p:nvGrpSpPr>
        <p:grpSpPr>
          <a:xfrm>
            <a:off x="6780091" y="645459"/>
            <a:ext cx="3927015" cy="5532428"/>
            <a:chOff x="6780091" y="645459"/>
            <a:chExt cx="3927015" cy="5532428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833877" y="688489"/>
              <a:ext cx="3873229" cy="5489398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80091" y="645459"/>
              <a:ext cx="3873229" cy="5489398"/>
            </a:xfrm>
            <a:prstGeom prst="rect">
              <a:avLst/>
            </a:prstGeom>
            <a:ln w="3175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03170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PA – commercial factors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443516469"/>
              </p:ext>
            </p:extLst>
          </p:nvPr>
        </p:nvGraphicFramePr>
        <p:xfrm>
          <a:off x="2289571" y="1788101"/>
          <a:ext cx="6755037" cy="4503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363748" y="2813738"/>
            <a:ext cx="12220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Electricity</a:t>
            </a:r>
            <a:br>
              <a:rPr lang="en-GB" dirty="0" smtClean="0">
                <a:solidFill>
                  <a:schemeClr val="bg1"/>
                </a:solidFill>
              </a:rPr>
            </a:br>
            <a:r>
              <a:rPr lang="en-GB" dirty="0" smtClean="0">
                <a:solidFill>
                  <a:schemeClr val="bg1"/>
                </a:solidFill>
              </a:rPr>
              <a:t>cos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933412" y="2782960"/>
            <a:ext cx="180892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Revenue certainty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464474" y="4012967"/>
            <a:ext cx="180892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Timing</a:t>
            </a:r>
            <a:br>
              <a:rPr lang="en-GB" dirty="0" smtClean="0">
                <a:solidFill>
                  <a:schemeClr val="bg1"/>
                </a:solidFill>
              </a:rPr>
            </a:br>
            <a:r>
              <a:rPr lang="en-GB" dirty="0" smtClean="0">
                <a:solidFill>
                  <a:schemeClr val="bg1"/>
                </a:solidFill>
              </a:rPr>
              <a:t>certaint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776868" y="3945163"/>
            <a:ext cx="149133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Business / leadership - sustainabilit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68207" y="5071121"/>
            <a:ext cx="113306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Project bankability</a:t>
            </a:r>
          </a:p>
        </p:txBody>
      </p:sp>
    </p:spTree>
    <p:extLst>
      <p:ext uri="{BB962C8B-B14F-4D97-AF65-F5344CB8AC3E}">
        <p14:creationId xmlns:p14="http://schemas.microsoft.com/office/powerpoint/2010/main" val="2946179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448966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6" name="Objekt 3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6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ind PPAs adds complexity – general project structure</a:t>
            </a:r>
            <a:endParaRPr lang="en-GB" dirty="0"/>
          </a:p>
        </p:txBody>
      </p:sp>
      <p:grpSp>
        <p:nvGrpSpPr>
          <p:cNvPr id="6" name="Gruppe 5"/>
          <p:cNvGrpSpPr/>
          <p:nvPr/>
        </p:nvGrpSpPr>
        <p:grpSpPr>
          <a:xfrm>
            <a:off x="3533205" y="1668463"/>
            <a:ext cx="8284939" cy="5012959"/>
            <a:chOff x="2164107" y="1298023"/>
            <a:chExt cx="6740517" cy="4893963"/>
          </a:xfrm>
        </p:grpSpPr>
        <p:cxnSp>
          <p:nvCxnSpPr>
            <p:cNvPr id="84" name="Straight Arrow Connector 83"/>
            <p:cNvCxnSpPr/>
            <p:nvPr/>
          </p:nvCxnSpPr>
          <p:spPr>
            <a:xfrm>
              <a:off x="5314953" y="3168434"/>
              <a:ext cx="0" cy="2673991"/>
            </a:xfrm>
            <a:prstGeom prst="straightConnector1">
              <a:avLst/>
            </a:prstGeom>
            <a:ln w="28575">
              <a:solidFill>
                <a:srgbClr val="3F647E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84"/>
            <p:cNvSpPr/>
            <p:nvPr/>
          </p:nvSpPr>
          <p:spPr>
            <a:xfrm>
              <a:off x="2354518" y="3031339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Lenders  /     Security Agent</a:t>
              </a: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6505547" y="2417776"/>
              <a:ext cx="941144" cy="73483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7" name="Text Box 2"/>
            <p:cNvSpPr txBox="1">
              <a:spLocks noChangeArrowheads="1"/>
            </p:cNvSpPr>
            <p:nvPr/>
          </p:nvSpPr>
          <p:spPr bwMode="auto">
            <a:xfrm>
              <a:off x="2164107" y="2849995"/>
              <a:ext cx="1396009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Credit Facility Agreement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0" name="Text Box 2"/>
            <p:cNvSpPr txBox="1">
              <a:spLocks noChangeArrowheads="1"/>
            </p:cNvSpPr>
            <p:nvPr/>
          </p:nvSpPr>
          <p:spPr bwMode="auto">
            <a:xfrm>
              <a:off x="5561253" y="3505486"/>
              <a:ext cx="1335272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Fixed Price</a:t>
              </a:r>
              <a:endParaRPr kumimoji="0" lang="en-GB" alt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1" name="Text Box 2"/>
            <p:cNvSpPr txBox="1">
              <a:spLocks noChangeArrowheads="1"/>
            </p:cNvSpPr>
            <p:nvPr/>
          </p:nvSpPr>
          <p:spPr bwMode="auto">
            <a:xfrm>
              <a:off x="4258112" y="3500195"/>
              <a:ext cx="581752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6CB33F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GoOs</a:t>
              </a:r>
              <a:endParaRPr kumimoji="0" lang="en-GB" alt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6CB33F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2" name="Text Box 2"/>
            <p:cNvSpPr txBox="1">
              <a:spLocks noChangeArrowheads="1"/>
            </p:cNvSpPr>
            <p:nvPr/>
          </p:nvSpPr>
          <p:spPr bwMode="auto">
            <a:xfrm>
              <a:off x="2857196" y="3991950"/>
              <a:ext cx="1789199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Direct Agreement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3" name="Text Box 2"/>
            <p:cNvSpPr txBox="1">
              <a:spLocks noChangeArrowheads="1"/>
            </p:cNvSpPr>
            <p:nvPr/>
          </p:nvSpPr>
          <p:spPr bwMode="auto">
            <a:xfrm>
              <a:off x="5574419" y="4666561"/>
              <a:ext cx="903225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Market Price</a:t>
              </a:r>
              <a:endParaRPr kumimoji="0" lang="en-GB" alt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cxnSp>
          <p:nvCxnSpPr>
            <p:cNvPr id="104" name="Straight Arrow Connector 103"/>
            <p:cNvCxnSpPr/>
            <p:nvPr/>
          </p:nvCxnSpPr>
          <p:spPr>
            <a:xfrm>
              <a:off x="4687510" y="3135936"/>
              <a:ext cx="0" cy="947296"/>
            </a:xfrm>
            <a:prstGeom prst="straightConnector1">
              <a:avLst/>
            </a:prstGeom>
            <a:ln w="28575">
              <a:solidFill>
                <a:srgbClr val="6CB33F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/>
            <p:nvPr/>
          </p:nvCxnSpPr>
          <p:spPr>
            <a:xfrm>
              <a:off x="4274830" y="3135936"/>
              <a:ext cx="0" cy="947296"/>
            </a:xfrm>
            <a:prstGeom prst="straightConnector1">
              <a:avLst/>
            </a:prstGeom>
            <a:ln w="28575">
              <a:solidFill>
                <a:srgbClr val="758893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Text Box 2"/>
            <p:cNvSpPr txBox="1">
              <a:spLocks noChangeArrowheads="1"/>
            </p:cNvSpPr>
            <p:nvPr/>
          </p:nvSpPr>
          <p:spPr bwMode="auto">
            <a:xfrm>
              <a:off x="3718304" y="3502859"/>
              <a:ext cx="613737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58893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El Certs</a:t>
              </a:r>
              <a:endParaRPr kumimoji="0" lang="en-GB" alt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758893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7" name="Text Box 2"/>
            <p:cNvSpPr txBox="1">
              <a:spLocks noChangeArrowheads="1"/>
            </p:cNvSpPr>
            <p:nvPr/>
          </p:nvSpPr>
          <p:spPr bwMode="auto">
            <a:xfrm>
              <a:off x="3393457" y="4680951"/>
              <a:ext cx="1299950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Imbalance Agreements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8" name="Text Box 2"/>
            <p:cNvSpPr txBox="1">
              <a:spLocks noChangeArrowheads="1"/>
            </p:cNvSpPr>
            <p:nvPr/>
          </p:nvSpPr>
          <p:spPr bwMode="auto">
            <a:xfrm>
              <a:off x="7021319" y="3598172"/>
              <a:ext cx="1883305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Grid Connection Agreement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0" name="Isosceles Triangle 109"/>
            <p:cNvSpPr/>
            <p:nvPr/>
          </p:nvSpPr>
          <p:spPr>
            <a:xfrm>
              <a:off x="3632319" y="1836736"/>
              <a:ext cx="1028405" cy="524370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und/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Investor</a:t>
              </a: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3655317" y="1519882"/>
              <a:ext cx="2020892" cy="2683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Asset Manager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3685781" y="3082694"/>
              <a:ext cx="3036185" cy="451589"/>
            </a:xfrm>
            <a:prstGeom prst="rect">
              <a:avLst/>
            </a:prstGeom>
            <a:noFill/>
            <a:ln w="9525">
              <a:solidFill>
                <a:srgbClr val="5D717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4210777" y="3132978"/>
              <a:ext cx="1985052" cy="342147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oject Company</a:t>
              </a: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3580603" y="1421026"/>
              <a:ext cx="2259881" cy="1204660"/>
            </a:xfrm>
            <a:prstGeom prst="rect">
              <a:avLst/>
            </a:prstGeom>
            <a:noFill/>
            <a:ln w="9525">
              <a:solidFill>
                <a:srgbClr val="5D717C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cxnSp>
          <p:nvCxnSpPr>
            <p:cNvPr id="118" name="Elbow Connector 117"/>
            <p:cNvCxnSpPr>
              <a:stCxn id="110" idx="3"/>
              <a:endCxn id="124" idx="1"/>
            </p:cNvCxnSpPr>
            <p:nvPr/>
          </p:nvCxnSpPr>
          <p:spPr>
            <a:xfrm rot="16200000" flipH="1">
              <a:off x="4188382" y="2319245"/>
              <a:ext cx="501266" cy="584987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 Box 2"/>
            <p:cNvSpPr txBox="1">
              <a:spLocks noChangeArrowheads="1"/>
            </p:cNvSpPr>
            <p:nvPr/>
          </p:nvSpPr>
          <p:spPr bwMode="auto">
            <a:xfrm>
              <a:off x="2287293" y="2413069"/>
              <a:ext cx="1184474" cy="330518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Subordinated bonds/other equity instruments</a:t>
              </a:r>
              <a:endParaRPr kumimoji="0" lang="en-GB" alt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cxnSp>
          <p:nvCxnSpPr>
            <p:cNvPr id="121" name="Straight Arrow Connector 120"/>
            <p:cNvCxnSpPr/>
            <p:nvPr/>
          </p:nvCxnSpPr>
          <p:spPr>
            <a:xfrm flipV="1">
              <a:off x="5515768" y="3534283"/>
              <a:ext cx="5226" cy="548951"/>
            </a:xfrm>
            <a:prstGeom prst="straightConnector1">
              <a:avLst/>
            </a:prstGeom>
            <a:ln w="28575">
              <a:solidFill>
                <a:srgbClr val="3F647E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Arrow Connector 121"/>
            <p:cNvCxnSpPr/>
            <p:nvPr/>
          </p:nvCxnSpPr>
          <p:spPr>
            <a:xfrm flipV="1">
              <a:off x="5531865" y="4484439"/>
              <a:ext cx="0" cy="580522"/>
            </a:xfrm>
            <a:prstGeom prst="straightConnector1">
              <a:avLst/>
            </a:prstGeom>
            <a:ln w="28575">
              <a:solidFill>
                <a:schemeClr val="accent2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Arrow Connector 124"/>
            <p:cNvCxnSpPr/>
            <p:nvPr/>
          </p:nvCxnSpPr>
          <p:spPr>
            <a:xfrm>
              <a:off x="3329735" y="1758517"/>
              <a:ext cx="250868" cy="0"/>
            </a:xfrm>
            <a:prstGeom prst="straightConnector1">
              <a:avLst/>
            </a:prstGeom>
            <a:ln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Elbow Connector 125"/>
            <p:cNvCxnSpPr/>
            <p:nvPr/>
          </p:nvCxnSpPr>
          <p:spPr>
            <a:xfrm>
              <a:off x="3319623" y="3339521"/>
              <a:ext cx="365033" cy="152640"/>
            </a:xfrm>
            <a:prstGeom prst="bentConnector3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1" name="Text Box 2"/>
            <p:cNvSpPr txBox="1">
              <a:spLocks noChangeArrowheads="1"/>
            </p:cNvSpPr>
            <p:nvPr/>
          </p:nvSpPr>
          <p:spPr bwMode="auto">
            <a:xfrm>
              <a:off x="4690514" y="4701514"/>
              <a:ext cx="845840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Electricity</a:t>
              </a:r>
              <a:endParaRPr kumimoji="0" lang="en-GB" alt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cxnSp>
          <p:nvCxnSpPr>
            <p:cNvPr id="132" name="Elbow Connector 131"/>
            <p:cNvCxnSpPr>
              <a:stCxn id="85" idx="2"/>
            </p:cNvCxnSpPr>
            <p:nvPr/>
          </p:nvCxnSpPr>
          <p:spPr>
            <a:xfrm rot="16200000" flipH="1">
              <a:off x="3071138" y="3127438"/>
              <a:ext cx="852189" cy="1344283"/>
            </a:xfrm>
            <a:prstGeom prst="bentConnector2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4" name="Text Box 2"/>
            <p:cNvSpPr txBox="1">
              <a:spLocks noChangeArrowheads="1"/>
            </p:cNvSpPr>
            <p:nvPr/>
          </p:nvSpPr>
          <p:spPr bwMode="auto">
            <a:xfrm>
              <a:off x="2261642" y="1382108"/>
              <a:ext cx="1423014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Share Purchase Agreement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cxnSp>
          <p:nvCxnSpPr>
            <p:cNvPr id="135" name="Elbow Connector 134"/>
            <p:cNvCxnSpPr/>
            <p:nvPr/>
          </p:nvCxnSpPr>
          <p:spPr>
            <a:xfrm rot="10800000">
              <a:off x="4200861" y="5323765"/>
              <a:ext cx="483575" cy="32609"/>
            </a:xfrm>
            <a:prstGeom prst="bentConnector3">
              <a:avLst>
                <a:gd name="adj1" fmla="val 50000"/>
              </a:avLst>
            </a:prstGeom>
            <a:ln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Rectangle 143"/>
            <p:cNvSpPr/>
            <p:nvPr/>
          </p:nvSpPr>
          <p:spPr>
            <a:xfrm>
              <a:off x="2351809" y="1582482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ormer Owner/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eveloper</a:t>
              </a:r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7168429" y="3889394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SO</a:t>
              </a: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3157431" y="5179931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eSett</a:t>
              </a: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3485850" y="4883002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SO</a:t>
              </a:r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4732731" y="5090349"/>
              <a:ext cx="1079913" cy="466932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alance Responsible</a:t>
              </a:r>
            </a:p>
          </p:txBody>
        </p:sp>
        <p:sp>
          <p:nvSpPr>
            <p:cNvPr id="149" name="Rectangle 148"/>
            <p:cNvSpPr/>
            <p:nvPr/>
          </p:nvSpPr>
          <p:spPr>
            <a:xfrm>
              <a:off x="4845419" y="5867170"/>
              <a:ext cx="941144" cy="324816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Market or bilateral agreements</a:t>
              </a:r>
            </a:p>
          </p:txBody>
        </p:sp>
        <p:sp>
          <p:nvSpPr>
            <p:cNvPr id="150" name="Rectangle 149"/>
            <p:cNvSpPr/>
            <p:nvPr/>
          </p:nvSpPr>
          <p:spPr>
            <a:xfrm>
              <a:off x="4194589" y="4100129"/>
              <a:ext cx="2064663" cy="398595"/>
            </a:xfrm>
            <a:prstGeom prst="rect">
              <a:avLst/>
            </a:prstGeom>
            <a:solidFill>
              <a:schemeClr val="accent2">
                <a:lumMod val="90000"/>
                <a:lumOff val="1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PA </a:t>
              </a:r>
              <a:r>
                <a:rPr kumimoji="0" lang="en-GB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Off-taker</a:t>
              </a:r>
              <a:endPara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54" name="Text Box 2"/>
            <p:cNvSpPr txBox="1">
              <a:spLocks noChangeArrowheads="1"/>
            </p:cNvSpPr>
            <p:nvPr/>
          </p:nvSpPr>
          <p:spPr bwMode="blackGray">
            <a:xfrm>
              <a:off x="2977115" y="4367238"/>
              <a:ext cx="986269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Trading License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6" name="Text Box 2"/>
            <p:cNvSpPr txBox="1">
              <a:spLocks noChangeArrowheads="1"/>
            </p:cNvSpPr>
            <p:nvPr/>
          </p:nvSpPr>
          <p:spPr bwMode="auto">
            <a:xfrm>
              <a:off x="5575431" y="5562635"/>
              <a:ext cx="851392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Market Price</a:t>
              </a:r>
              <a:endParaRPr kumimoji="0" lang="en-GB" altLang="nb-NO" sz="800" b="0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2286981" y="4545619"/>
              <a:ext cx="1008681" cy="473675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orwegian Water Resources and Energy Directorate</a:t>
              </a:r>
            </a:p>
          </p:txBody>
        </p:sp>
        <p:cxnSp>
          <p:nvCxnSpPr>
            <p:cNvPr id="158" name="Elbow Connector 157"/>
            <p:cNvCxnSpPr>
              <a:endCxn id="157" idx="0"/>
            </p:cNvCxnSpPr>
            <p:nvPr/>
          </p:nvCxnSpPr>
          <p:spPr>
            <a:xfrm rot="10800000" flipV="1">
              <a:off x="2791322" y="4401488"/>
              <a:ext cx="1378051" cy="144131"/>
            </a:xfrm>
            <a:prstGeom prst="bentConnector2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Text Box 2"/>
            <p:cNvSpPr txBox="1">
              <a:spLocks noChangeArrowheads="1"/>
            </p:cNvSpPr>
            <p:nvPr/>
          </p:nvSpPr>
          <p:spPr bwMode="auto">
            <a:xfrm>
              <a:off x="7159445" y="1298023"/>
              <a:ext cx="1237196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0" i="1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Key agreements</a:t>
              </a:r>
              <a:endParaRPr kumimoji="0" lang="en-GB" altLang="nb-NO" sz="800" b="0" i="1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0" name="Rectangle 179"/>
            <p:cNvSpPr/>
            <p:nvPr/>
          </p:nvSpPr>
          <p:spPr>
            <a:xfrm>
              <a:off x="7175963" y="2884129"/>
              <a:ext cx="941144" cy="34214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urbine Supplier</a:t>
              </a:r>
            </a:p>
          </p:txBody>
        </p:sp>
        <p:cxnSp>
          <p:nvCxnSpPr>
            <p:cNvPr id="181" name="Elbow Connector 180"/>
            <p:cNvCxnSpPr/>
            <p:nvPr/>
          </p:nvCxnSpPr>
          <p:spPr>
            <a:xfrm flipV="1">
              <a:off x="6721966" y="3072185"/>
              <a:ext cx="442048" cy="121743"/>
            </a:xfrm>
            <a:prstGeom prst="bentConnector3">
              <a:avLst/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Elbow Connector 181"/>
            <p:cNvCxnSpPr/>
            <p:nvPr/>
          </p:nvCxnSpPr>
          <p:spPr>
            <a:xfrm rot="10800000" flipV="1">
              <a:off x="3673832" y="2827700"/>
              <a:ext cx="460740" cy="443345"/>
            </a:xfrm>
            <a:prstGeom prst="bentConnector3">
              <a:avLst>
                <a:gd name="adj1" fmla="val 152262"/>
              </a:avLst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H="1" flipV="1">
              <a:off x="5198776" y="2207568"/>
              <a:ext cx="3144" cy="478475"/>
            </a:xfrm>
            <a:prstGeom prst="line">
              <a:avLst/>
            </a:prstGeom>
            <a:ln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>
              <a:stCxn id="124" idx="2"/>
              <a:endCxn id="114" idx="0"/>
            </p:cNvCxnSpPr>
            <p:nvPr/>
          </p:nvCxnSpPr>
          <p:spPr>
            <a:xfrm>
              <a:off x="5201005" y="2618917"/>
              <a:ext cx="2298" cy="9953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Elbow Connector 190"/>
            <p:cNvCxnSpPr/>
            <p:nvPr/>
          </p:nvCxnSpPr>
          <p:spPr>
            <a:xfrm rot="10800000">
              <a:off x="6721967" y="3534283"/>
              <a:ext cx="446463" cy="517476"/>
            </a:xfrm>
            <a:prstGeom prst="bentConnector3">
              <a:avLst>
                <a:gd name="adj1" fmla="val 50000"/>
              </a:avLst>
            </a:prstGeom>
            <a:ln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Rectangle 123"/>
            <p:cNvSpPr/>
            <p:nvPr/>
          </p:nvSpPr>
          <p:spPr>
            <a:xfrm>
              <a:off x="4731509" y="2691298"/>
              <a:ext cx="938993" cy="342147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oldCo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(NOR) </a:t>
              </a:r>
            </a:p>
          </p:txBody>
        </p:sp>
        <p:sp>
          <p:nvSpPr>
            <p:cNvPr id="127" name="Text Box 2"/>
            <p:cNvSpPr txBox="1">
              <a:spLocks noChangeArrowheads="1"/>
            </p:cNvSpPr>
            <p:nvPr/>
          </p:nvSpPr>
          <p:spPr bwMode="auto">
            <a:xfrm>
              <a:off x="4682546" y="3497531"/>
              <a:ext cx="914651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Electricity</a:t>
              </a:r>
              <a:endParaRPr kumimoji="0" lang="en-GB" alt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8" name="Text Box 2"/>
            <p:cNvSpPr txBox="1">
              <a:spLocks noChangeArrowheads="1"/>
            </p:cNvSpPr>
            <p:nvPr/>
          </p:nvSpPr>
          <p:spPr bwMode="auto">
            <a:xfrm>
              <a:off x="4665411" y="5615715"/>
              <a:ext cx="888754" cy="210330"/>
            </a:xfrm>
            <a:prstGeom prst="rect">
              <a:avLst/>
            </a:prstGeom>
            <a:no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nb-NO" sz="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C6F7C"/>
                  </a:solidFill>
                  <a:effectLst/>
                  <a:uLnTx/>
                  <a:uFillTx/>
                  <a:latin typeface="+mj-lt"/>
                  <a:ea typeface="+mn-ea"/>
                  <a:cs typeface="Arial" pitchFamily="34" charset="0"/>
                </a:rPr>
                <a:t>Electricity</a:t>
              </a:r>
              <a:endParaRPr kumimoji="0" lang="en-GB" altLang="nb-NO" sz="800" b="1" i="0" u="none" strike="noStrike" kern="1200" cap="none" spc="0" normalizeH="0" baseline="0" noProof="0" dirty="0">
                <a:ln>
                  <a:noFill/>
                </a:ln>
                <a:solidFill>
                  <a:srgbClr val="5C6F7C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9" name="Rectangle 108"/>
            <p:cNvSpPr/>
            <p:nvPr/>
          </p:nvSpPr>
          <p:spPr>
            <a:xfrm>
              <a:off x="4736868" y="2018960"/>
              <a:ext cx="938993" cy="34214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635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3F647E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oldCo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3F647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6" name="Plassholder for lysbildenumm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4</a:t>
            </a:fld>
            <a:endParaRPr lang="en-GB" dirty="0"/>
          </a:p>
        </p:txBody>
      </p:sp>
      <p:cxnSp>
        <p:nvCxnSpPr>
          <p:cNvPr id="9" name="Rett pilkobling 8"/>
          <p:cNvCxnSpPr/>
          <p:nvPr/>
        </p:nvCxnSpPr>
        <p:spPr>
          <a:xfrm flipV="1">
            <a:off x="7708723" y="6022271"/>
            <a:ext cx="0" cy="340706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oup 87"/>
          <p:cNvGrpSpPr/>
          <p:nvPr/>
        </p:nvGrpSpPr>
        <p:grpSpPr>
          <a:xfrm>
            <a:off x="801878" y="4608393"/>
            <a:ext cx="2051731" cy="1518165"/>
            <a:chOff x="771716" y="5685451"/>
            <a:chExt cx="1002707" cy="683078"/>
          </a:xfrm>
        </p:grpSpPr>
        <p:sp>
          <p:nvSpPr>
            <p:cNvPr id="139" name="Rectangle 89"/>
            <p:cNvSpPr/>
            <p:nvPr/>
          </p:nvSpPr>
          <p:spPr>
            <a:xfrm>
              <a:off x="771716" y="5707397"/>
              <a:ext cx="114312" cy="97867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3175" cap="flat" cmpd="sng" algn="ctr">
              <a:solidFill>
                <a:srgbClr val="3F647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140" name="TextBox 90"/>
            <p:cNvSpPr txBox="1"/>
            <p:nvPr/>
          </p:nvSpPr>
          <p:spPr>
            <a:xfrm>
              <a:off x="867552" y="5685451"/>
              <a:ext cx="906871" cy="90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imes New Roman"/>
                </a:rPr>
                <a:t>Shareholder Group</a:t>
              </a: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/>
              </a:endParaRPr>
            </a:p>
          </p:txBody>
        </p:sp>
        <p:sp>
          <p:nvSpPr>
            <p:cNvPr id="141" name="Rectangle 91"/>
            <p:cNvSpPr/>
            <p:nvPr/>
          </p:nvSpPr>
          <p:spPr>
            <a:xfrm>
              <a:off x="771716" y="5851413"/>
              <a:ext cx="114312" cy="97867"/>
            </a:xfrm>
            <a:prstGeom prst="rect">
              <a:avLst/>
            </a:prstGeom>
            <a:solidFill>
              <a:schemeClr val="accent2">
                <a:lumMod val="10000"/>
                <a:lumOff val="90000"/>
              </a:schemeClr>
            </a:solidFill>
            <a:ln w="3175" cap="flat" cmpd="sng" algn="ctr">
              <a:solidFill>
                <a:srgbClr val="3F647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142" name="TextBox 92"/>
            <p:cNvSpPr txBox="1"/>
            <p:nvPr/>
          </p:nvSpPr>
          <p:spPr>
            <a:xfrm>
              <a:off x="867552" y="5828043"/>
              <a:ext cx="906871" cy="90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imes New Roman"/>
                </a:rPr>
                <a:t>Wind Farm/SPV Group</a:t>
              </a: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/>
              </a:endParaRPr>
            </a:p>
          </p:txBody>
        </p:sp>
        <p:sp>
          <p:nvSpPr>
            <p:cNvPr id="143" name="Rectangle 93"/>
            <p:cNvSpPr/>
            <p:nvPr/>
          </p:nvSpPr>
          <p:spPr>
            <a:xfrm>
              <a:off x="771716" y="5995429"/>
              <a:ext cx="114312" cy="97867"/>
            </a:xfrm>
            <a:prstGeom prst="rect">
              <a:avLst/>
            </a:prstGeom>
            <a:solidFill>
              <a:schemeClr val="accent2">
                <a:lumMod val="90000"/>
                <a:lumOff val="10000"/>
              </a:schemeClr>
            </a:solidFill>
            <a:ln w="3175" cap="flat" cmpd="sng" algn="ctr">
              <a:solidFill>
                <a:srgbClr val="3F647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151" name="TextBox 94"/>
            <p:cNvSpPr txBox="1"/>
            <p:nvPr/>
          </p:nvSpPr>
          <p:spPr>
            <a:xfrm>
              <a:off x="867552" y="5972943"/>
              <a:ext cx="862808" cy="90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imes New Roman"/>
                </a:rPr>
                <a:t>Physical Power Purchaser</a:t>
              </a: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/>
              </a:endParaRPr>
            </a:p>
          </p:txBody>
        </p:sp>
        <p:sp>
          <p:nvSpPr>
            <p:cNvPr id="152" name="Rectangle 95"/>
            <p:cNvSpPr/>
            <p:nvPr/>
          </p:nvSpPr>
          <p:spPr>
            <a:xfrm>
              <a:off x="771716" y="6139445"/>
              <a:ext cx="114312" cy="97867"/>
            </a:xfrm>
            <a:prstGeom prst="rect">
              <a:avLst/>
            </a:prstGeom>
            <a:solidFill>
              <a:srgbClr val="365A1F">
                <a:lumMod val="50000"/>
              </a:srgbClr>
            </a:solidFill>
            <a:ln w="3175" cap="flat" cmpd="sng" algn="ctr">
              <a:solidFill>
                <a:srgbClr val="3F647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153" name="TextBox 96"/>
            <p:cNvSpPr txBox="1"/>
            <p:nvPr/>
          </p:nvSpPr>
          <p:spPr>
            <a:xfrm>
              <a:off x="867552" y="6103739"/>
              <a:ext cx="890785" cy="90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imes New Roman"/>
                </a:rPr>
                <a:t>Balance Responsible Party</a:t>
              </a: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/>
              </a:endParaRPr>
            </a:p>
          </p:txBody>
        </p:sp>
        <p:sp>
          <p:nvSpPr>
            <p:cNvPr id="155" name="Rectangle 97"/>
            <p:cNvSpPr/>
            <p:nvPr/>
          </p:nvSpPr>
          <p:spPr>
            <a:xfrm>
              <a:off x="771716" y="6270662"/>
              <a:ext cx="114312" cy="97867"/>
            </a:xfrm>
            <a:prstGeom prst="rect">
              <a:avLst/>
            </a:prstGeom>
            <a:solidFill>
              <a:sysClr val="window" lastClr="FFFFFF"/>
            </a:solidFill>
            <a:ln w="3175" cap="flat" cmpd="sng" algn="ctr">
              <a:solidFill>
                <a:srgbClr val="3F647E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/>
                <a:ea typeface="+mn-ea"/>
                <a:cs typeface="+mn-cs"/>
              </a:endParaRPr>
            </a:p>
          </p:txBody>
        </p:sp>
        <p:sp>
          <p:nvSpPr>
            <p:cNvPr id="159" name="TextBox 98"/>
            <p:cNvSpPr txBox="1"/>
            <p:nvPr/>
          </p:nvSpPr>
          <p:spPr>
            <a:xfrm>
              <a:off x="867552" y="6245447"/>
              <a:ext cx="906871" cy="900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Times New Roman"/>
                </a:rPr>
                <a:t>Other Major Parties</a:t>
              </a:r>
              <a:endParaRPr kumimoji="0" lang="en-GB" sz="7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/>
              </a:endParaRPr>
            </a:p>
          </p:txBody>
        </p:sp>
      </p:grpSp>
      <p:sp>
        <p:nvSpPr>
          <p:cNvPr id="69" name="Rectangle 68"/>
          <p:cNvSpPr/>
          <p:nvPr/>
        </p:nvSpPr>
        <p:spPr>
          <a:xfrm>
            <a:off x="9698736" y="2822385"/>
            <a:ext cx="1156784" cy="35046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noProof="0" dirty="0" smtClean="0">
                <a:solidFill>
                  <a:schemeClr val="tx1"/>
                </a:solidFill>
                <a:latin typeface="+mj-lt"/>
              </a:rPr>
              <a:t>Service and Availability Agreemen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9693403" y="2383844"/>
            <a:ext cx="1156784" cy="35046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smtClean="0">
                <a:solidFill>
                  <a:schemeClr val="tx1"/>
                </a:solidFill>
                <a:latin typeface="+mj-lt"/>
              </a:rPr>
              <a:t>BoP agreements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9693403" y="1955837"/>
            <a:ext cx="1156784" cy="35046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noProof="0" dirty="0" smtClean="0">
                <a:solidFill>
                  <a:schemeClr val="tx1"/>
                </a:solidFill>
                <a:latin typeface="+mj-lt"/>
              </a:rPr>
              <a:t>Construction Management Agreement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9687214" y="3685494"/>
            <a:ext cx="1156784" cy="350466"/>
          </a:xfrm>
          <a:prstGeom prst="rect">
            <a:avLst/>
          </a:prstGeom>
          <a:solidFill>
            <a:schemeClr val="bg1"/>
          </a:solidFill>
          <a:ln w="63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&amp;M agreement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993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roup 229"/>
          <p:cNvGrpSpPr/>
          <p:nvPr/>
        </p:nvGrpSpPr>
        <p:grpSpPr>
          <a:xfrm>
            <a:off x="756964" y="1745039"/>
            <a:ext cx="9549941" cy="4474388"/>
            <a:chOff x="756964" y="1745039"/>
            <a:chExt cx="9549941" cy="4474388"/>
          </a:xfrm>
        </p:grpSpPr>
        <p:sp>
          <p:nvSpPr>
            <p:cNvPr id="245" name="Rectangle 244"/>
            <p:cNvSpPr/>
            <p:nvPr/>
          </p:nvSpPr>
          <p:spPr>
            <a:xfrm>
              <a:off x="3605582" y="2612009"/>
              <a:ext cx="6470556" cy="411231"/>
            </a:xfrm>
            <a:prstGeom prst="rect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4">
                <a:lnSpc>
                  <a:spcPct val="250000"/>
                </a:lnSpc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Purchase of electricity:</a:t>
              </a:r>
              <a:r>
                <a:rPr kumimoji="0" lang="en-GB" sz="900" b="1" i="0" u="none" strike="noStrike" kern="1200" cap="none" spc="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Fixed pric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2947348" y="2612010"/>
              <a:ext cx="658263" cy="4115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Market Price</a:t>
              </a:r>
              <a:endPara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5" name="Straight Arrow Connector 4"/>
            <p:cNvCxnSpPr/>
            <p:nvPr/>
          </p:nvCxnSpPr>
          <p:spPr>
            <a:xfrm>
              <a:off x="3609464" y="3243663"/>
              <a:ext cx="6609980" cy="5121"/>
            </a:xfrm>
            <a:prstGeom prst="straightConnector1">
              <a:avLst/>
            </a:prstGeom>
            <a:ln w="38100">
              <a:headEnd type="diamond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1939234" y="3245272"/>
              <a:ext cx="4680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20XX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587306" y="3245272"/>
              <a:ext cx="4680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20XX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416392" y="3245272"/>
              <a:ext cx="4680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20XX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716098" y="3245272"/>
              <a:ext cx="4680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20XX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6403730" y="3245272"/>
              <a:ext cx="1296144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Term: XX years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>
            <a:xfrm flipH="1">
              <a:off x="7267826" y="3162012"/>
              <a:ext cx="216024" cy="18348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H="1">
              <a:off x="7375838" y="3162012"/>
              <a:ext cx="216024" cy="18348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/>
            <p:cNvSpPr/>
            <p:nvPr/>
          </p:nvSpPr>
          <p:spPr>
            <a:xfrm>
              <a:off x="1374166" y="3460898"/>
              <a:ext cx="997058" cy="30323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Financial Clos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1255158" y="3245272"/>
              <a:ext cx="4680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2019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05" name="Straight Connector 104"/>
            <p:cNvCxnSpPr>
              <a:stCxn id="43" idx="0"/>
            </p:cNvCxnSpPr>
            <p:nvPr/>
          </p:nvCxnSpPr>
          <p:spPr>
            <a:xfrm flipV="1">
              <a:off x="1489184" y="3243662"/>
              <a:ext cx="2120280" cy="1610"/>
            </a:xfrm>
            <a:prstGeom prst="line">
              <a:avLst/>
            </a:prstGeom>
            <a:ln w="19050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Rectangle 108"/>
            <p:cNvSpPr/>
            <p:nvPr/>
          </p:nvSpPr>
          <p:spPr>
            <a:xfrm>
              <a:off x="3379394" y="1745039"/>
              <a:ext cx="1113476" cy="35243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GB" sz="900" dirty="0">
                  <a:solidFill>
                    <a:srgbClr val="414041"/>
                  </a:solidFill>
                </a:rPr>
                <a:t>Commercial Operation </a:t>
              </a:r>
              <a:r>
                <a:rPr lang="en-GB" sz="900" dirty="0" smtClean="0">
                  <a:solidFill>
                    <a:srgbClr val="414041"/>
                  </a:solidFill>
                </a:rPr>
                <a:t>Date</a:t>
              </a:r>
              <a:endParaRPr lang="en-GB" sz="900" dirty="0">
                <a:solidFill>
                  <a:srgbClr val="414041"/>
                </a:solidFill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9309847" y="3468849"/>
              <a:ext cx="997058" cy="37324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End of Term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1348009" y="2724193"/>
              <a:ext cx="997058" cy="30323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Signing Dat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grpSp>
          <p:nvGrpSpPr>
            <p:cNvPr id="168" name="Group 167"/>
            <p:cNvGrpSpPr/>
            <p:nvPr/>
          </p:nvGrpSpPr>
          <p:grpSpPr>
            <a:xfrm>
              <a:off x="756964" y="5499848"/>
              <a:ext cx="1234403" cy="618343"/>
              <a:chOff x="771716" y="5685451"/>
              <a:chExt cx="1234403" cy="618343"/>
            </a:xfrm>
          </p:grpSpPr>
          <p:sp>
            <p:nvSpPr>
              <p:cNvPr id="170" name="Rectangle 169"/>
              <p:cNvSpPr/>
              <p:nvPr/>
            </p:nvSpPr>
            <p:spPr>
              <a:xfrm>
                <a:off x="771716" y="5707397"/>
                <a:ext cx="114312" cy="97867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 w="3175">
                <a:solidFill>
                  <a:srgbClr val="3F64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1" name="TextBox 170"/>
              <p:cNvSpPr txBox="1"/>
              <p:nvPr/>
            </p:nvSpPr>
            <p:spPr>
              <a:xfrm>
                <a:off x="872417" y="5685451"/>
                <a:ext cx="906870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Key dates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2" name="Rectangle 171"/>
              <p:cNvSpPr/>
              <p:nvPr/>
            </p:nvSpPr>
            <p:spPr>
              <a:xfrm>
                <a:off x="771716" y="5851413"/>
                <a:ext cx="114312" cy="97867"/>
              </a:xfrm>
              <a:prstGeom prst="rect">
                <a:avLst/>
              </a:prstGeom>
              <a:solidFill>
                <a:schemeClr val="accent2">
                  <a:lumMod val="75000"/>
                  <a:lumOff val="25000"/>
                </a:schemeClr>
              </a:solidFill>
              <a:ln w="3175">
                <a:solidFill>
                  <a:srgbClr val="3F64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3" name="TextBox 172"/>
              <p:cNvSpPr txBox="1"/>
              <p:nvPr/>
            </p:nvSpPr>
            <p:spPr>
              <a:xfrm>
                <a:off x="872417" y="5828043"/>
                <a:ext cx="113370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Key obligations/rights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4" name="Rectangle 173"/>
              <p:cNvSpPr/>
              <p:nvPr/>
            </p:nvSpPr>
            <p:spPr>
              <a:xfrm>
                <a:off x="771716" y="5995429"/>
                <a:ext cx="114312" cy="97867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rgbClr val="3F64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5" name="TextBox 174"/>
              <p:cNvSpPr txBox="1"/>
              <p:nvPr/>
            </p:nvSpPr>
            <p:spPr>
              <a:xfrm>
                <a:off x="872417" y="5972943"/>
                <a:ext cx="1133702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Compensation clauses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6" name="Rectangle 175"/>
              <p:cNvSpPr/>
              <p:nvPr/>
            </p:nvSpPr>
            <p:spPr>
              <a:xfrm>
                <a:off x="771716" y="6139445"/>
                <a:ext cx="114312" cy="97867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 w="3175">
                <a:solidFill>
                  <a:srgbClr val="3F647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77" name="TextBox 176"/>
              <p:cNvSpPr txBox="1"/>
              <p:nvPr/>
            </p:nvSpPr>
            <p:spPr>
              <a:xfrm>
                <a:off x="872418" y="6103739"/>
                <a:ext cx="862808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0" i="0" u="none" strike="noStrike" kern="120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ea typeface="+mn-ea"/>
                    <a:cs typeface="+mn-cs"/>
                  </a:rPr>
                  <a:t>Exit provisions</a:t>
                </a:r>
                <a:endParaRPr kumimoji="0" lang="en-GB" sz="7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</p:grpSp>
        <p:cxnSp>
          <p:nvCxnSpPr>
            <p:cNvPr id="186" name="Straight Connector 185"/>
            <p:cNvCxnSpPr/>
            <p:nvPr/>
          </p:nvCxnSpPr>
          <p:spPr>
            <a:xfrm>
              <a:off x="1795218" y="3275843"/>
              <a:ext cx="0" cy="217917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>
              <a:off x="1678799" y="3023240"/>
              <a:ext cx="0" cy="208994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>
              <a:off x="2947346" y="2094032"/>
              <a:ext cx="0" cy="1082914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Straight Connector 190"/>
            <p:cNvCxnSpPr/>
            <p:nvPr/>
          </p:nvCxnSpPr>
          <p:spPr>
            <a:xfrm>
              <a:off x="3609464" y="2094032"/>
              <a:ext cx="0" cy="116106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Straight Connector 192"/>
            <p:cNvCxnSpPr/>
            <p:nvPr/>
          </p:nvCxnSpPr>
          <p:spPr>
            <a:xfrm>
              <a:off x="10076138" y="3260081"/>
              <a:ext cx="0" cy="147805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Rectangle 116"/>
            <p:cNvSpPr/>
            <p:nvPr/>
          </p:nvSpPr>
          <p:spPr>
            <a:xfrm>
              <a:off x="2076226" y="1745992"/>
              <a:ext cx="1148098" cy="34804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r>
                <a:rPr lang="en-GB" sz="900" dirty="0">
                  <a:solidFill>
                    <a:srgbClr val="414041"/>
                  </a:solidFill>
                </a:rPr>
                <a:t>Anticipated Completion </a:t>
              </a:r>
              <a:r>
                <a:rPr lang="en-GB" sz="900" dirty="0" smtClean="0">
                  <a:solidFill>
                    <a:srgbClr val="414041"/>
                  </a:solidFill>
                </a:rPr>
                <a:t>Date</a:t>
              </a:r>
              <a:endParaRPr lang="en-GB" sz="900" dirty="0">
                <a:solidFill>
                  <a:srgbClr val="414041"/>
                </a:solidFill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2947346" y="2276613"/>
              <a:ext cx="7128792" cy="335396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noFill/>
            </a:ln>
            <a:effectLst>
              <a:glow>
                <a:schemeClr val="accent1">
                  <a:alpha val="40000"/>
                </a:schemeClr>
              </a:glo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1"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+mn-ea"/>
                  <a:cs typeface="+mn-cs"/>
                </a:rPr>
                <a:t>		</a:t>
              </a: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Purchase of </a:t>
              </a:r>
              <a:r>
                <a:rPr kumimoji="0" lang="en-GB" sz="9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GoOs</a:t>
              </a: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 or other environmental elements </a:t>
              </a:r>
            </a:p>
            <a:p>
              <a:pPr lvl="1">
                <a:defRPr/>
              </a:pPr>
              <a:r>
                <a:rPr kumimoji="0" lang="en-GB" sz="9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		Purchase of El-certificates</a:t>
              </a:r>
              <a:endPara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2238320" y="4403174"/>
              <a:ext cx="997058" cy="38427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No Financial Clos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227266" y="4916264"/>
              <a:ext cx="1004577" cy="30323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Compensation?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6" name="Straight Arrow Connector 15"/>
            <p:cNvCxnSpPr>
              <a:stCxn id="88" idx="2"/>
              <a:endCxn id="90" idx="0"/>
            </p:cNvCxnSpPr>
            <p:nvPr/>
          </p:nvCxnSpPr>
          <p:spPr>
            <a:xfrm flipH="1">
              <a:off x="2729555" y="4787453"/>
              <a:ext cx="7294" cy="128811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Elbow Connector 24"/>
            <p:cNvCxnSpPr>
              <a:endCxn id="88" idx="0"/>
            </p:cNvCxnSpPr>
            <p:nvPr/>
          </p:nvCxnSpPr>
          <p:spPr>
            <a:xfrm rot="16200000" flipH="1">
              <a:off x="2174695" y="3841020"/>
              <a:ext cx="639036" cy="485272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Elbow Connector 54"/>
            <p:cNvCxnSpPr>
              <a:stCxn id="61" idx="2"/>
              <a:endCxn id="89" idx="0"/>
            </p:cNvCxnSpPr>
            <p:nvPr/>
          </p:nvCxnSpPr>
          <p:spPr>
            <a:xfrm rot="16200000" flipH="1">
              <a:off x="3670164" y="4322617"/>
              <a:ext cx="651862" cy="535431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Elbow Connector 56"/>
            <p:cNvCxnSpPr>
              <a:stCxn id="63" idx="2"/>
              <a:endCxn id="89" idx="0"/>
            </p:cNvCxnSpPr>
            <p:nvPr/>
          </p:nvCxnSpPr>
          <p:spPr>
            <a:xfrm rot="5400000">
              <a:off x="4209511" y="4314891"/>
              <a:ext cx="655674" cy="547073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Elbow Connector 57"/>
            <p:cNvCxnSpPr>
              <a:stCxn id="66" idx="3"/>
              <a:endCxn id="108" idx="3"/>
            </p:cNvCxnSpPr>
            <p:nvPr/>
          </p:nvCxnSpPr>
          <p:spPr>
            <a:xfrm>
              <a:off x="9769056" y="4088172"/>
              <a:ext cx="12700" cy="403647"/>
            </a:xfrm>
            <a:prstGeom prst="bentConnector3">
              <a:avLst>
                <a:gd name="adj1" fmla="val 180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Rectangle 60"/>
            <p:cNvSpPr/>
            <p:nvPr/>
          </p:nvSpPr>
          <p:spPr>
            <a:xfrm>
              <a:off x="3224324" y="3908152"/>
              <a:ext cx="1008112" cy="356250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Lack of Capacity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518943" y="3908152"/>
              <a:ext cx="1028251" cy="360040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Non-Production Even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4294810" y="3908152"/>
              <a:ext cx="1032148" cy="352438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Pass Through of Yield Damages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7613466" y="3908152"/>
              <a:ext cx="1050334" cy="352438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Events of Defaul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8771998" y="3908152"/>
              <a:ext cx="997058" cy="360040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Force Majeur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640104" y="5458492"/>
              <a:ext cx="997058" cy="303238"/>
            </a:xfrm>
            <a:prstGeom prst="rect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(Early) Termination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4892488" y="4916264"/>
              <a:ext cx="997058" cy="41341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Reimbursement by Purchaser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69" name="Elbow Connector 68"/>
            <p:cNvCxnSpPr>
              <a:endCxn id="67" idx="1"/>
            </p:cNvCxnSpPr>
            <p:nvPr/>
          </p:nvCxnSpPr>
          <p:spPr>
            <a:xfrm>
              <a:off x="3504776" y="4264400"/>
              <a:ext cx="4135328" cy="1345711"/>
            </a:xfrm>
            <a:prstGeom prst="bentConnector3">
              <a:avLst>
                <a:gd name="adj1" fmla="val 1614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Arrow Connector 77"/>
            <p:cNvCxnSpPr/>
            <p:nvPr/>
          </p:nvCxnSpPr>
          <p:spPr>
            <a:xfrm flipV="1">
              <a:off x="4808964" y="3493760"/>
              <a:ext cx="0" cy="41439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Arrow Connector 78"/>
            <p:cNvCxnSpPr/>
            <p:nvPr/>
          </p:nvCxnSpPr>
          <p:spPr>
            <a:xfrm flipV="1">
              <a:off x="7048078" y="3493760"/>
              <a:ext cx="0" cy="41439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/>
          </p:nvCxnSpPr>
          <p:spPr>
            <a:xfrm flipV="1">
              <a:off x="8138633" y="3493760"/>
              <a:ext cx="0" cy="41439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Arrow Connector 80"/>
            <p:cNvCxnSpPr/>
            <p:nvPr/>
          </p:nvCxnSpPr>
          <p:spPr>
            <a:xfrm flipV="1">
              <a:off x="9178652" y="3469907"/>
              <a:ext cx="0" cy="41439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Rectangle 82"/>
            <p:cNvSpPr/>
            <p:nvPr/>
          </p:nvSpPr>
          <p:spPr>
            <a:xfrm>
              <a:off x="5424422" y="3908152"/>
              <a:ext cx="993417" cy="356859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Curtailmen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84" name="Straight Arrow Connector 83"/>
            <p:cNvCxnSpPr/>
            <p:nvPr/>
          </p:nvCxnSpPr>
          <p:spPr>
            <a:xfrm flipV="1">
              <a:off x="5931744" y="3493760"/>
              <a:ext cx="0" cy="41439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Oval 85"/>
            <p:cNvSpPr/>
            <p:nvPr/>
          </p:nvSpPr>
          <p:spPr>
            <a:xfrm>
              <a:off x="2947348" y="3068111"/>
              <a:ext cx="7178841" cy="392787"/>
            </a:xfrm>
            <a:prstGeom prst="ellipse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  <a:prstDash val="dash"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3749504" y="4916264"/>
              <a:ext cx="1028613" cy="41341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Compensation by Seller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7051802" y="4916264"/>
              <a:ext cx="997058" cy="41341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Compensation by Seller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7640104" y="5916189"/>
              <a:ext cx="997058" cy="30323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Termination Paymen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01" name="Straight Connector 100"/>
            <p:cNvCxnSpPr/>
            <p:nvPr/>
          </p:nvCxnSpPr>
          <p:spPr>
            <a:xfrm>
              <a:off x="1723210" y="3764137"/>
              <a:ext cx="0" cy="200817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Rectangle 101"/>
            <p:cNvSpPr/>
            <p:nvPr/>
          </p:nvSpPr>
          <p:spPr>
            <a:xfrm>
              <a:off x="1374166" y="3964954"/>
              <a:ext cx="997058" cy="303238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PPA Direct Agreement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07" name="Straight Arrow Connector 106"/>
            <p:cNvCxnSpPr>
              <a:stCxn id="67" idx="2"/>
              <a:endCxn id="97" idx="0"/>
            </p:cNvCxnSpPr>
            <p:nvPr/>
          </p:nvCxnSpPr>
          <p:spPr>
            <a:xfrm>
              <a:off x="8138633" y="5761730"/>
              <a:ext cx="0" cy="154459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angle 107"/>
            <p:cNvSpPr/>
            <p:nvPr/>
          </p:nvSpPr>
          <p:spPr>
            <a:xfrm>
              <a:off x="8771998" y="4340200"/>
              <a:ext cx="997058" cy="303238"/>
            </a:xfrm>
            <a:prstGeom prst="rect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No fault Termination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18" name="Elbow Connector 117"/>
            <p:cNvCxnSpPr>
              <a:stCxn id="61" idx="0"/>
            </p:cNvCxnSpPr>
            <p:nvPr/>
          </p:nvCxnSpPr>
          <p:spPr>
            <a:xfrm rot="16200000" flipV="1">
              <a:off x="3288752" y="3468524"/>
              <a:ext cx="432048" cy="447208"/>
            </a:xfrm>
            <a:prstGeom prst="bentConnector2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Arrow Connector 95"/>
            <p:cNvCxnSpPr>
              <a:stCxn id="65" idx="2"/>
              <a:endCxn id="67" idx="0"/>
            </p:cNvCxnSpPr>
            <p:nvPr/>
          </p:nvCxnSpPr>
          <p:spPr>
            <a:xfrm>
              <a:off x="8138633" y="4260590"/>
              <a:ext cx="0" cy="1197902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6" name="Rectangle 105"/>
            <p:cNvSpPr/>
            <p:nvPr/>
          </p:nvSpPr>
          <p:spPr>
            <a:xfrm>
              <a:off x="5971149" y="4412208"/>
              <a:ext cx="1008645" cy="37524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If special regulation (TSO)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4892488" y="4412208"/>
              <a:ext cx="997058" cy="37524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If negative spot price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5971149" y="4916263"/>
              <a:ext cx="1008645" cy="41341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1"/>
                  </a:solidFill>
                  <a:effectLst/>
                  <a:uLnTx/>
                  <a:uFillTx/>
                  <a:ea typeface="+mn-ea"/>
                  <a:cs typeface="+mn-cs"/>
                </a:rPr>
                <a:t>Remuneration or cost back-to-back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1404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120" name="Elbow Connector 119"/>
            <p:cNvCxnSpPr>
              <a:stCxn id="83" idx="2"/>
              <a:endCxn id="114" idx="0"/>
            </p:cNvCxnSpPr>
            <p:nvPr/>
          </p:nvCxnSpPr>
          <p:spPr>
            <a:xfrm rot="5400000">
              <a:off x="5582476" y="4073552"/>
              <a:ext cx="147197" cy="530114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Elbow Connector 120"/>
            <p:cNvCxnSpPr>
              <a:stCxn id="83" idx="2"/>
              <a:endCxn id="106" idx="0"/>
            </p:cNvCxnSpPr>
            <p:nvPr/>
          </p:nvCxnSpPr>
          <p:spPr>
            <a:xfrm rot="16200000" flipH="1">
              <a:off x="6124703" y="4061438"/>
              <a:ext cx="147197" cy="554341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Elbow Connector 121"/>
            <p:cNvCxnSpPr>
              <a:stCxn id="62" idx="2"/>
              <a:endCxn id="91" idx="0"/>
            </p:cNvCxnSpPr>
            <p:nvPr/>
          </p:nvCxnSpPr>
          <p:spPr>
            <a:xfrm rot="16200000" flipH="1">
              <a:off x="6967664" y="4333597"/>
              <a:ext cx="648072" cy="517262"/>
            </a:xfrm>
            <a:prstGeom prst="bentConnector3">
              <a:avLst>
                <a:gd name="adj1" fmla="val 50000"/>
              </a:avLst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/>
            <p:cNvCxnSpPr>
              <a:stCxn id="106" idx="2"/>
              <a:endCxn id="119" idx="0"/>
            </p:cNvCxnSpPr>
            <p:nvPr/>
          </p:nvCxnSpPr>
          <p:spPr>
            <a:xfrm>
              <a:off x="6475472" y="4787454"/>
              <a:ext cx="0" cy="128809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Arrow Connector 123"/>
            <p:cNvCxnSpPr>
              <a:stCxn id="114" idx="2"/>
              <a:endCxn id="68" idx="0"/>
            </p:cNvCxnSpPr>
            <p:nvPr/>
          </p:nvCxnSpPr>
          <p:spPr>
            <a:xfrm>
              <a:off x="5391017" y="4787454"/>
              <a:ext cx="0" cy="128810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Rectangle 84"/>
            <p:cNvSpPr/>
            <p:nvPr/>
          </p:nvSpPr>
          <p:spPr>
            <a:xfrm>
              <a:off x="8771998" y="4916264"/>
              <a:ext cx="997058" cy="303238"/>
            </a:xfrm>
            <a:prstGeom prst="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</a:rPr>
                <a:t>Change In Law</a:t>
              </a:r>
              <a:endPara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ract Structure</a:t>
            </a:r>
            <a:endParaRPr lang="en-GB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742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355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6" imgW="348" imgH="346" progId="TCLayout.ActiveDocument.1">
                  <p:embed/>
                </p:oleObj>
              </mc:Choice>
              <mc:Fallback>
                <p:oleObj name="think-cell Slide" r:id="rId6" imgW="348" imgH="34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GB" sz="36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PA – overview 201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ill the Nordic region continue to be Europe’s PPA forerunner?</a:t>
            </a:r>
          </a:p>
          <a:p>
            <a:pPr lvl="1"/>
            <a:r>
              <a:rPr lang="en-US" dirty="0" smtClean="0"/>
              <a:t>2019 figures shows a decrease</a:t>
            </a:r>
          </a:p>
          <a:p>
            <a:pPr lvl="1"/>
            <a:r>
              <a:rPr lang="en-US" dirty="0" smtClean="0"/>
              <a:t>Europe </a:t>
            </a:r>
            <a:r>
              <a:rPr lang="en-US" dirty="0"/>
              <a:t>had a promising start to 2020, with PPAs totaling 1.4 GW signed </a:t>
            </a:r>
            <a:r>
              <a:rPr lang="en-US" dirty="0" smtClean="0"/>
              <a:t>per July</a:t>
            </a:r>
            <a:r>
              <a:rPr lang="en-US" dirty="0"/>
              <a:t>. </a:t>
            </a:r>
            <a:endParaRPr lang="en-US" dirty="0" smtClean="0"/>
          </a:p>
          <a:p>
            <a:pPr lvl="2"/>
            <a:r>
              <a:rPr lang="en-US" dirty="0" smtClean="0"/>
              <a:t>The </a:t>
            </a:r>
            <a:r>
              <a:rPr lang="en-US" dirty="0"/>
              <a:t>Nordics, which typically dominate, saw just 400 MW of PPAs announced in the first seven months. </a:t>
            </a:r>
            <a:endParaRPr lang="en-US" dirty="0" smtClean="0"/>
          </a:p>
          <a:p>
            <a:pPr lvl="2">
              <a:buFontTx/>
              <a:buChar char="-"/>
            </a:pPr>
            <a:r>
              <a:rPr lang="en-GB" dirty="0" smtClean="0"/>
              <a:t>Key factors and future outlook for Norway going forward 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25"/>
          <a:stretch/>
        </p:blipFill>
        <p:spPr>
          <a:xfrm>
            <a:off x="6075363" y="1893887"/>
            <a:ext cx="5056187" cy="3527967"/>
          </a:xfrm>
          <a:prstGeom prst="rect">
            <a:avLst/>
          </a:prstGeom>
          <a:ln w="3175">
            <a:solidFill>
              <a:schemeClr val="tx2"/>
            </a:solidFill>
          </a:ln>
        </p:spPr>
      </p:pic>
      <p:sp>
        <p:nvSpPr>
          <p:cNvPr id="14" name="Text Placeholder 6"/>
          <p:cNvSpPr txBox="1">
            <a:spLocks/>
          </p:cNvSpPr>
          <p:nvPr/>
        </p:nvSpPr>
        <p:spPr>
          <a:xfrm>
            <a:off x="8715168" y="5551487"/>
            <a:ext cx="2416382" cy="2576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tabLst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nb-NO" sz="1000" dirty="0" smtClean="0">
                <a:solidFill>
                  <a:schemeClr val="tx2"/>
                </a:solidFill>
              </a:rPr>
              <a:t>Source: Wind Europe</a:t>
            </a:r>
            <a:endParaRPr lang="en-GB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28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335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8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600" b="1" noProof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011" y="364490"/>
            <a:ext cx="5058000" cy="1303973"/>
          </a:xfrm>
        </p:spPr>
        <p:txBody>
          <a:bodyPr/>
          <a:lstStyle/>
          <a:p>
            <a:r>
              <a:rPr lang="en-GB" dirty="0" smtClean="0"/>
              <a:t>Potential developments</a:t>
            </a:r>
            <a:endParaRPr lang="en-GB" dirty="0"/>
          </a:p>
        </p:txBody>
      </p:sp>
      <p:pic>
        <p:nvPicPr>
          <p:cNvPr id="10" name="Content Placeholder 8"/>
          <p:cNvPicPr>
            <a:picLocks noGrp="1" noChangeAspect="1"/>
          </p:cNvPicPr>
          <p:nvPr>
            <p:ph type="pic" sz="quarter" idx="14"/>
          </p:nvPr>
        </p:nvPicPr>
        <p:blipFill>
          <a:blip r:embed="rId8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5162" r="5162"/>
          <a:stretch>
            <a:fillRect/>
          </a:stretch>
        </p:blipFill>
        <p:spPr/>
      </p:pic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lvl="0"/>
            <a:fld id="{24C8C45C-947F-4981-8B3F-4F32E973C901}" type="slidenum">
              <a:rPr lang="en-GB" noProof="0" smtClean="0"/>
              <a:pPr lvl="0"/>
              <a:t>7</a:t>
            </a:fld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733425" y="1892300"/>
            <a:ext cx="5059586" cy="4284663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Will the PPA format change? 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Shorter duration?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 smtClean="0"/>
              <a:t>Bundling of wind/solar and/or hydropower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 smtClean="0"/>
              <a:t>24/7 PPA?</a:t>
            </a:r>
            <a:endParaRPr lang="en-GB" sz="14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Commoditization of renewable energy procurement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Education off-takers / </a:t>
            </a:r>
            <a:r>
              <a:rPr lang="en-GB" sz="1400" dirty="0" smtClean="0"/>
              <a:t>custom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1400" dirty="0" smtClean="0"/>
              <a:t>Development </a:t>
            </a:r>
            <a:r>
              <a:rPr lang="en-US" sz="1400" dirty="0"/>
              <a:t>of blueprint corporate PPA </a:t>
            </a:r>
            <a:r>
              <a:rPr lang="en-US" sz="1400" dirty="0" smtClean="0"/>
              <a:t>products (EFET)</a:t>
            </a:r>
            <a:endParaRPr lang="en-GB" sz="1400" dirty="0"/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Lenders; higher acceptance of the merchant risk?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Will the buyer types change?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Multiple off-takers?</a:t>
            </a:r>
          </a:p>
          <a:p>
            <a:pPr lvl="2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The “Dutch wind consortium” (potentially replicable model)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Institutional investors such as pension </a:t>
            </a:r>
            <a:r>
              <a:rPr lang="en-GB" sz="1400" dirty="0" smtClean="0"/>
              <a:t>fund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GB" sz="1400" dirty="0" smtClean="0"/>
              <a:t>New types of energy intensive industries</a:t>
            </a:r>
            <a:endParaRPr lang="en-GB" sz="14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dirty="0"/>
              <a:t>Insurance products?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33116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36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0tIRJsptWb0n1cetkx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lpVWww1TNNboMsCVCu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PU_j1xf7My2exAwkbe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s52uvdDYPoDNfWCzth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_.CKN5tN0lF6YU1gW6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s52uvdDYPoDNfWCzth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1MwwA.k1WqavrSnYx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lpVWww1TNNboMsCVC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ddWgLIgc8d.pQD86Fx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aQqKHAqkr_wKadRizEGQ"/>
</p:tagLst>
</file>

<file path=ppt/theme/theme1.xml><?xml version="1.0" encoding="utf-8"?>
<a:theme xmlns:a="http://schemas.openxmlformats.org/drawingml/2006/main" name="Wiersholm Presentasjonsmal 16:9">
  <a:themeElements>
    <a:clrScheme name="Wiersholm 2019">
      <a:dk1>
        <a:srgbClr val="000000"/>
      </a:dk1>
      <a:lt1>
        <a:sysClr val="window" lastClr="FFFFFF"/>
      </a:lt1>
      <a:dk2>
        <a:srgbClr val="606060"/>
      </a:dk2>
      <a:lt2>
        <a:srgbClr val="FF614F"/>
      </a:lt2>
      <a:accent1>
        <a:srgbClr val="036E45"/>
      </a:accent1>
      <a:accent2>
        <a:srgbClr val="033821"/>
      </a:accent2>
      <a:accent3>
        <a:srgbClr val="999999"/>
      </a:accent3>
      <a:accent4>
        <a:srgbClr val="606060"/>
      </a:accent4>
      <a:accent5>
        <a:srgbClr val="333333"/>
      </a:accent5>
      <a:accent6>
        <a:srgbClr val="088C52"/>
      </a:accent6>
      <a:hlink>
        <a:srgbClr val="606060"/>
      </a:hlink>
      <a:folHlink>
        <a:srgbClr val="606060"/>
      </a:folHlink>
    </a:clrScheme>
    <a:fontScheme name="Wiershol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.potx" id="{9A7F592D-7533-4370-BAE8-EBE344B4040F}" vid="{09001DA9-1FBC-4EFE-8F67-1211FA7EA4AC}"/>
    </a:ext>
  </a:extLst>
</a:theme>
</file>

<file path=ppt/theme/theme2.xml><?xml version="1.0" encoding="utf-8"?>
<a:theme xmlns:a="http://schemas.openxmlformats.org/drawingml/2006/main" name="2_Blank">
  <a:themeElements>
    <a:clrScheme name="Wiersholm">
      <a:dk1>
        <a:srgbClr val="414041"/>
      </a:dk1>
      <a:lt1>
        <a:sysClr val="window" lastClr="FFFFFF"/>
      </a:lt1>
      <a:dk2>
        <a:srgbClr val="7CA869"/>
      </a:dk2>
      <a:lt2>
        <a:srgbClr val="FFFFFF"/>
      </a:lt2>
      <a:accent1>
        <a:srgbClr val="1F323F"/>
      </a:accent1>
      <a:accent2>
        <a:srgbClr val="365A1F"/>
      </a:accent2>
      <a:accent3>
        <a:srgbClr val="8EA0AC"/>
      </a:accent3>
      <a:accent4>
        <a:srgbClr val="495863"/>
      </a:accent4>
      <a:accent5>
        <a:srgbClr val="A1D383"/>
      </a:accent5>
      <a:accent6>
        <a:srgbClr val="9AA9B4"/>
      </a:accent6>
      <a:hlink>
        <a:srgbClr val="3F647E"/>
      </a:hlink>
      <a:folHlink>
        <a:srgbClr val="588AAC"/>
      </a:folHlink>
    </a:clrScheme>
    <a:fontScheme name="Wiersholm 2018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F323F"/>
        </a:solidFill>
        <a:ln>
          <a:noFill/>
        </a:ln>
      </a:spPr>
      <a:bodyPr rtlCol="0" anchor="ctr"/>
      <a:lstStyle>
        <a:defPPr algn="ctr"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53D3FF21-D078-4E50-8DAB-40D966E64430}" vid="{5DCD108E-54FE-4686-925A-BBE947ED8A17}"/>
    </a:ext>
  </a:extLst>
</a:theme>
</file>

<file path=ppt/theme/theme3.xml><?xml version="1.0" encoding="utf-8"?>
<a:theme xmlns:a="http://schemas.openxmlformats.org/drawingml/2006/main" name="1_Wiersholm Presentasjonsmal 16:9">
  <a:themeElements>
    <a:clrScheme name="Wiersholm 2019">
      <a:dk1>
        <a:srgbClr val="000000"/>
      </a:dk1>
      <a:lt1>
        <a:sysClr val="window" lastClr="FFFFFF"/>
      </a:lt1>
      <a:dk2>
        <a:srgbClr val="606060"/>
      </a:dk2>
      <a:lt2>
        <a:srgbClr val="FF614F"/>
      </a:lt2>
      <a:accent1>
        <a:srgbClr val="036E45"/>
      </a:accent1>
      <a:accent2>
        <a:srgbClr val="033821"/>
      </a:accent2>
      <a:accent3>
        <a:srgbClr val="999999"/>
      </a:accent3>
      <a:accent4>
        <a:srgbClr val="606060"/>
      </a:accent4>
      <a:accent5>
        <a:srgbClr val="333333"/>
      </a:accent5>
      <a:accent6>
        <a:srgbClr val="088C52"/>
      </a:accent6>
      <a:hlink>
        <a:srgbClr val="606060"/>
      </a:hlink>
      <a:folHlink>
        <a:srgbClr val="606060"/>
      </a:folHlink>
    </a:clrScheme>
    <a:fontScheme name="Wiershol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.potx" id="{9A7F592D-7533-4370-BAE8-EBE344B4040F}" vid="{09001DA9-1FBC-4EFE-8F67-1211FA7EA4AC}"/>
    </a:ext>
  </a:extLst>
</a:theme>
</file>

<file path=ppt/theme/theme4.xml><?xml version="1.0" encoding="utf-8"?>
<a:theme xmlns:a="http://schemas.openxmlformats.org/drawingml/2006/main" name="Blank">
  <a:themeElements>
    <a:clrScheme name="Wiersholm">
      <a:dk1>
        <a:srgbClr val="414041"/>
      </a:dk1>
      <a:lt1>
        <a:sysClr val="window" lastClr="FFFFFF"/>
      </a:lt1>
      <a:dk2>
        <a:srgbClr val="7CA869"/>
      </a:dk2>
      <a:lt2>
        <a:srgbClr val="FFFFFF"/>
      </a:lt2>
      <a:accent1>
        <a:srgbClr val="1F323F"/>
      </a:accent1>
      <a:accent2>
        <a:srgbClr val="365A1F"/>
      </a:accent2>
      <a:accent3>
        <a:srgbClr val="8EA0AC"/>
      </a:accent3>
      <a:accent4>
        <a:srgbClr val="495863"/>
      </a:accent4>
      <a:accent5>
        <a:srgbClr val="A1D383"/>
      </a:accent5>
      <a:accent6>
        <a:srgbClr val="9AA9B4"/>
      </a:accent6>
      <a:hlink>
        <a:srgbClr val="3F647E"/>
      </a:hlink>
      <a:folHlink>
        <a:srgbClr val="588AAC"/>
      </a:folHlink>
    </a:clrScheme>
    <a:fontScheme name="Wiersholm 2018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F323F"/>
        </a:solidFill>
        <a:ln>
          <a:noFill/>
        </a:ln>
      </a:spPr>
      <a:bodyPr rtlCol="0" anchor="ctr"/>
      <a:lstStyle>
        <a:defPPr algn="ctr">
          <a:defRPr sz="16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6_9_Wiersholm.potx" id="{019D8C84-A2F2-40CD-A991-6874EDA55437}" vid="{36529FFC-F221-4749-9236-FDA7B20B96D8}"/>
    </a:ext>
  </a:extLst>
</a:theme>
</file>

<file path=ppt/theme/theme5.xml><?xml version="1.0" encoding="utf-8"?>
<a:theme xmlns:a="http://schemas.openxmlformats.org/drawingml/2006/main" name="2_Wiersholm Presentasjonsmal 16:9">
  <a:themeElements>
    <a:clrScheme name="Wiersholm 2019">
      <a:dk1>
        <a:srgbClr val="000000"/>
      </a:dk1>
      <a:lt1>
        <a:sysClr val="window" lastClr="FFFFFF"/>
      </a:lt1>
      <a:dk2>
        <a:srgbClr val="606060"/>
      </a:dk2>
      <a:lt2>
        <a:srgbClr val="FF614F"/>
      </a:lt2>
      <a:accent1>
        <a:srgbClr val="036E45"/>
      </a:accent1>
      <a:accent2>
        <a:srgbClr val="033821"/>
      </a:accent2>
      <a:accent3>
        <a:srgbClr val="999999"/>
      </a:accent3>
      <a:accent4>
        <a:srgbClr val="606060"/>
      </a:accent4>
      <a:accent5>
        <a:srgbClr val="333333"/>
      </a:accent5>
      <a:accent6>
        <a:srgbClr val="088C52"/>
      </a:accent6>
      <a:hlink>
        <a:srgbClr val="606060"/>
      </a:hlink>
      <a:folHlink>
        <a:srgbClr val="606060"/>
      </a:folHlink>
    </a:clrScheme>
    <a:fontScheme name="Wiershol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seTemplate 16-9.potx" id="{9A7F592D-7533-4370-BAE8-EBE344B4040F}" vid="{09001DA9-1FBC-4EFE-8F67-1211FA7EA4AC}"/>
    </a:ext>
  </a:extLst>
</a:theme>
</file>

<file path=ppt/theme/theme6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0</TotalTime>
  <Words>475</Words>
  <Application>Microsoft Office PowerPoint</Application>
  <PresentationFormat>Widescreen</PresentationFormat>
  <Paragraphs>143</Paragraphs>
  <Slides>8</Slides>
  <Notes>7</Notes>
  <HiddenSlides>1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7" baseType="lpstr">
      <vt:lpstr>Arial</vt:lpstr>
      <vt:lpstr>Franklin Gothic Demi Cond</vt:lpstr>
      <vt:lpstr>Times New Roman</vt:lpstr>
      <vt:lpstr>Wiersholm Presentasjonsmal 16:9</vt:lpstr>
      <vt:lpstr>2_Blank</vt:lpstr>
      <vt:lpstr>1_Wiersholm Presentasjonsmal 16:9</vt:lpstr>
      <vt:lpstr>Blank</vt:lpstr>
      <vt:lpstr>2_Wiersholm Presentasjonsmal 16:9</vt:lpstr>
      <vt:lpstr>think-cell Slide</vt:lpstr>
      <vt:lpstr>PPAs from a Nordic perspective</vt:lpstr>
      <vt:lpstr>Nordic corporate PPA drivers</vt:lpstr>
      <vt:lpstr>PPA – commercial factors </vt:lpstr>
      <vt:lpstr>Wind PPAs adds complexity – general project structure</vt:lpstr>
      <vt:lpstr>Contract Structure</vt:lpstr>
      <vt:lpstr>PPA – overview 2019</vt:lpstr>
      <vt:lpstr>Potential development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5-29T09:00:12Z</dcterms:created>
  <dcterms:modified xsi:type="dcterms:W3CDTF">2020-09-30T09:59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stomerId">
    <vt:lpwstr>wiersholm</vt:lpwstr>
  </property>
  <property fmtid="{D5CDD505-2E9C-101B-9397-08002B2CF9AE}" pid="4" name="TemplateId">
    <vt:lpwstr>636591979610908586</vt:lpwstr>
  </property>
  <property fmtid="{D5CDD505-2E9C-101B-9397-08002B2CF9AE}" pid="5" name="UserProfileId">
    <vt:lpwstr>636820164930375503</vt:lpwstr>
  </property>
  <property fmtid="{D5CDD505-2E9C-101B-9397-08002B2CF9AE}" pid="6" name="SD_AgendaDefinition Agenda layout 16_9-0">
    <vt:lpwstr>{"AgendaLayoutName":"Agenda layout 16_9","StartLeft":471.5045,"StartTop":103.0,"MaxAgendaPointLength":450.0,"MaxAgendaPointNumber":10,"Width":149.192841,"SubtitleBreadCrumbsEnabled":false,"SectionHeader":null,"ActiveAgendaSlideNumber":{"NumberFormat":"00</vt:lpwstr>
  </property>
  <property fmtid="{D5CDD505-2E9C-101B-9397-08002B2CF9AE}" pid="7" name="SD_AgendaDefinition Agenda layout 16_9-1">
    <vt:lpwstr>","StartTop":103.0,"StartLeft":419.917725,"Width":23.2440948,"PaddingLeft":0.0,"PaddingTop":0.0,"PaddingRight":0.0,"PaddingBottom":0.0,"MarginTop":0.0,"FontName":"Arial","FontSize":20.0,"FontColor":"Transparent","FontBold":false,"BackgroundColor":"1, 255</vt:lpwstr>
  </property>
  <property fmtid="{D5CDD505-2E9C-101B-9397-08002B2CF9AE}" pid="8" name="SD_AgendaDefinition Agenda layout 16_9-2">
    <vt:lpwstr>, 255, 255","HorizontalTextAlignment":0,"VerticalTextAlignment":0,"TextCasing":0,"TopAnchoredShapes":null,"BottomAnchoredShapes":null,"DesignShapes":null,"Height":24.3779526,"TextWrap":false,"ResizeToFit":0},"InactiveAgendaSlideNumber":{"NumberFormat":"0</vt:lpwstr>
  </property>
  <property fmtid="{D5CDD505-2E9C-101B-9397-08002B2CF9AE}" pid="9" name="SD_AgendaDefinition Agenda layout 16_9-3">
    <vt:lpwstr>0","StartTop":198.0,"StartLeft":419.917725,"Width":47.8110237,"PaddingLeft":0.0,"PaddingTop":0.0,"PaddingRight":0.0,"PaddingBottom":0.0,"MarginTop":0.0,"FontName":"Arial","FontSize":20.0,"FontColor":"Transparent","FontBold":false,"BackgroundColor":"1, 25</vt:lpwstr>
  </property>
  <property fmtid="{D5CDD505-2E9C-101B-9397-08002B2CF9AE}" pid="10" name="SD_AgendaDefinition Agenda layout 16_9-4">
    <vt:lpwstr>5, 255, 255","HorizontalTextAlignment":0,"VerticalTextAlignment":0,"TextCasing":0,"TopAnchoredShapes":null,"BottomAnchoredShapes":null,"DesignShapes":null,"Height":24.23441,"TextWrap":true,"ResizeToFit":0},"ActiveAgendaSlideIndex":null,"InactiveAgendaSli</vt:lpwstr>
  </property>
  <property fmtid="{D5CDD505-2E9C-101B-9397-08002B2CF9AE}" pid="11" name="SD_AgendaDefinition Agenda layout 16_9-5">
    <vt:lpwstr>deIndex":null,"ActiveSectionStyle":{"PaddingLeft":0.0,"PaddingTop":0.0,"PaddingRight":0.0,"PaddingBottom":0.0,"MarginTop":24.0,"FontName":"Arial","FontSize":20.0,"FontColor":"Transparent","FontBold":false,"BackgroundColor":"1, 255, 255, 255","HorizontalT</vt:lpwstr>
  </property>
  <property fmtid="{D5CDD505-2E9C-101B-9397-08002B2CF9AE}" pid="12" name="SD_AgendaDefinition Agenda layout 16_9-6">
    <vt:lpwstr>extAlignment":0,"VerticalTextAlignment":0,"TextCasing":2,"TopAnchoredShapes":[],"BottomAnchoredShapes":[],"DesignShapes":null,"Height":24.23441,"TextWrap":false,"ResizeToFit":2},"InactiveSectionStyle":{"PaddingLeft":0.0,"PaddingTop":0.0,"PaddingRight":0.</vt:lpwstr>
  </property>
  <property fmtid="{D5CDD505-2E9C-101B-9397-08002B2CF9AE}" pid="13" name="SD_AgendaDefinition Agenda layout 16_9-7">
    <vt:lpwstr>0,"PaddingBottom":0.0,"MarginTop":23.0,"FontName":"Arial","FontSize":20.0,"FontColor":"Transparent","FontBold":false,"BackgroundColor":"1, 255, 255, 255","HorizontalTextAlignment":0,"VerticalTextAlignment":0,"TextCasing":2,"TopAnchoredShapes":[],"BottomA</vt:lpwstr>
  </property>
  <property fmtid="{D5CDD505-2E9C-101B-9397-08002B2CF9AE}" pid="14" name="SD_AgendaDefinition Agenda layout 16_9-8">
    <vt:lpwstr>nchoredShapes":[],"DesignShapes":null,"Height":24.23441,"TextWrap":false,"ResizeToFit":2},"ActiveSubtitleStyle":null,"InactiveSubtitleStyle":null,"ShadowProperties":null,"ActiveSubtitleAgendaSlideIndex":null,"InactiveSubtitleAgendaSlideIndex":null,"Activ</vt:lpwstr>
  </property>
  <property fmtid="{D5CDD505-2E9C-101B-9397-08002B2CF9AE}" pid="15" name="SD_AgendaDefinition Agenda layout 16_9-9">
    <vt:lpwstr>eSubtitleAgendaSlideNumber":null,"InactiveSubtitleAgendaSlideNumber":null}</vt:lpwstr>
  </property>
  <property fmtid="{D5CDD505-2E9C-101B-9397-08002B2CF9AE}" pid="16" name="SD_AgendaDefinition Agenda layout 16_9">
    <vt:lpwstr>@!@10@!@</vt:lpwstr>
  </property>
</Properties>
</file>